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2"/>
  </p:notesMasterIdLst>
  <p:sldIdLst>
    <p:sldId id="256" r:id="rId5"/>
    <p:sldId id="257" r:id="rId6"/>
    <p:sldId id="259" r:id="rId7"/>
    <p:sldId id="258" r:id="rId8"/>
    <p:sldId id="261" r:id="rId9"/>
    <p:sldId id="260" r:id="rId10"/>
    <p:sldId id="262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107B24-83EF-4EB3-98F6-1DBAD859182B}" v="35" dt="2020-07-13T14:35:07.6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3" d="100"/>
          <a:sy n="63" d="100"/>
        </p:scale>
        <p:origin x="78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zzet Can Sahpaz" userId="e9f1c557-1bf0-478a-b564-976aded079b8" providerId="ADAL" clId="{0539D3A8-BD0F-44F9-B0E1-247187BDC6A4}"/>
    <pc:docChg chg="addSld modSld">
      <pc:chgData name="Izzet Can Sahpaz" userId="e9f1c557-1bf0-478a-b564-976aded079b8" providerId="ADAL" clId="{0539D3A8-BD0F-44F9-B0E1-247187BDC6A4}" dt="2020-06-30T13:17:24.546" v="44" actId="20577"/>
      <pc:docMkLst>
        <pc:docMk/>
      </pc:docMkLst>
      <pc:sldChg chg="modSp new mod">
        <pc:chgData name="Izzet Can Sahpaz" userId="e9f1c557-1bf0-478a-b564-976aded079b8" providerId="ADAL" clId="{0539D3A8-BD0F-44F9-B0E1-247187BDC6A4}" dt="2020-06-30T13:17:24.546" v="44" actId="20577"/>
        <pc:sldMkLst>
          <pc:docMk/>
          <pc:sldMk cId="700343843" sldId="261"/>
        </pc:sldMkLst>
        <pc:spChg chg="mod">
          <ac:chgData name="Izzet Can Sahpaz" userId="e9f1c557-1bf0-478a-b564-976aded079b8" providerId="ADAL" clId="{0539D3A8-BD0F-44F9-B0E1-247187BDC6A4}" dt="2020-06-30T13:17:24.546" v="44" actId="20577"/>
          <ac:spMkLst>
            <pc:docMk/>
            <pc:sldMk cId="700343843" sldId="261"/>
            <ac:spMk id="2" creationId="{3D487692-8B19-4F84-BB3E-24B467C9AF65}"/>
          </ac:spMkLst>
        </pc:spChg>
      </pc:sldChg>
    </pc:docChg>
  </pc:docChgLst>
  <pc:docChgLst>
    <pc:chgData name="Staaden, Isabel (HPE Aruba Germany)" userId="7aecef56-bcb0-406f-9998-f3170cab8724" providerId="ADAL" clId="{64107B24-83EF-4EB3-98F6-1DBAD859182B}"/>
    <pc:docChg chg="undo custSel addSld modSld">
      <pc:chgData name="Staaden, Isabel (HPE Aruba Germany)" userId="7aecef56-bcb0-406f-9998-f3170cab8724" providerId="ADAL" clId="{64107B24-83EF-4EB3-98F6-1DBAD859182B}" dt="2020-07-13T14:35:18.082" v="60" actId="1076"/>
      <pc:docMkLst>
        <pc:docMk/>
      </pc:docMkLst>
      <pc:sldChg chg="addSp delSp modSp add">
        <pc:chgData name="Staaden, Isabel (HPE Aruba Germany)" userId="7aecef56-bcb0-406f-9998-f3170cab8724" providerId="ADAL" clId="{64107B24-83EF-4EB3-98F6-1DBAD859182B}" dt="2020-07-13T14:35:18.082" v="60" actId="1076"/>
        <pc:sldMkLst>
          <pc:docMk/>
          <pc:sldMk cId="477495771" sldId="262"/>
        </pc:sldMkLst>
        <pc:spChg chg="del">
          <ac:chgData name="Staaden, Isabel (HPE Aruba Germany)" userId="7aecef56-bcb0-406f-9998-f3170cab8724" providerId="ADAL" clId="{64107B24-83EF-4EB3-98F6-1DBAD859182B}" dt="2020-07-13T12:46:47.865" v="2" actId="478"/>
          <ac:spMkLst>
            <pc:docMk/>
            <pc:sldMk cId="477495771" sldId="262"/>
            <ac:spMk id="2" creationId="{8BD69CE1-D1AE-4040-A641-474472F6FB95}"/>
          </ac:spMkLst>
        </pc:spChg>
        <pc:spChg chg="add del mod">
          <ac:chgData name="Staaden, Isabel (HPE Aruba Germany)" userId="7aecef56-bcb0-406f-9998-f3170cab8724" providerId="ADAL" clId="{64107B24-83EF-4EB3-98F6-1DBAD859182B}" dt="2020-07-13T12:46:52.229" v="3" actId="478"/>
          <ac:spMkLst>
            <pc:docMk/>
            <pc:sldMk cId="477495771" sldId="262"/>
            <ac:spMk id="8" creationId="{4C6AFEE5-FB67-4335-8E46-3E9AC091915E}"/>
          </ac:spMkLst>
        </pc:spChg>
        <pc:spChg chg="add del mod">
          <ac:chgData name="Staaden, Isabel (HPE Aruba Germany)" userId="7aecef56-bcb0-406f-9998-f3170cab8724" providerId="ADAL" clId="{64107B24-83EF-4EB3-98F6-1DBAD859182B}" dt="2020-07-13T12:49:09.977" v="11" actId="478"/>
          <ac:spMkLst>
            <pc:docMk/>
            <pc:sldMk cId="477495771" sldId="262"/>
            <ac:spMk id="12" creationId="{0CAE20B4-8C5E-4CF0-93BC-B5B503C72128}"/>
          </ac:spMkLst>
        </pc:spChg>
        <pc:spChg chg="add del mod">
          <ac:chgData name="Staaden, Isabel (HPE Aruba Germany)" userId="7aecef56-bcb0-406f-9998-f3170cab8724" providerId="ADAL" clId="{64107B24-83EF-4EB3-98F6-1DBAD859182B}" dt="2020-07-13T14:32:46.497" v="25" actId="478"/>
          <ac:spMkLst>
            <pc:docMk/>
            <pc:sldMk cId="477495771" sldId="262"/>
            <ac:spMk id="16" creationId="{E5983618-9EC2-4AB2-B8B2-D56C19CADE21}"/>
          </ac:spMkLst>
        </pc:spChg>
        <pc:spChg chg="add mod">
          <ac:chgData name="Staaden, Isabel (HPE Aruba Germany)" userId="7aecef56-bcb0-406f-9998-f3170cab8724" providerId="ADAL" clId="{64107B24-83EF-4EB3-98F6-1DBAD859182B}" dt="2020-07-13T14:34:54.107" v="54" actId="208"/>
          <ac:spMkLst>
            <pc:docMk/>
            <pc:sldMk cId="477495771" sldId="262"/>
            <ac:spMk id="17" creationId="{18D1F217-42E9-4800-93CF-F223ED601D7F}"/>
          </ac:spMkLst>
        </pc:spChg>
        <pc:spChg chg="add mod">
          <ac:chgData name="Staaden, Isabel (HPE Aruba Germany)" userId="7aecef56-bcb0-406f-9998-f3170cab8724" providerId="ADAL" clId="{64107B24-83EF-4EB3-98F6-1DBAD859182B}" dt="2020-07-13T14:35:02.270" v="56" actId="1076"/>
          <ac:spMkLst>
            <pc:docMk/>
            <pc:sldMk cId="477495771" sldId="262"/>
            <ac:spMk id="20" creationId="{1968DC76-5207-4CEB-B529-BD516D4C3BDD}"/>
          </ac:spMkLst>
        </pc:spChg>
        <pc:spChg chg="add mod">
          <ac:chgData name="Staaden, Isabel (HPE Aruba Germany)" userId="7aecef56-bcb0-406f-9998-f3170cab8724" providerId="ADAL" clId="{64107B24-83EF-4EB3-98F6-1DBAD859182B}" dt="2020-07-13T14:35:06.941" v="58" actId="1076"/>
          <ac:spMkLst>
            <pc:docMk/>
            <pc:sldMk cId="477495771" sldId="262"/>
            <ac:spMk id="21" creationId="{4FB85B09-B2D5-4075-9D76-9501CA854DA3}"/>
          </ac:spMkLst>
        </pc:spChg>
        <pc:spChg chg="add mod">
          <ac:chgData name="Staaden, Isabel (HPE Aruba Germany)" userId="7aecef56-bcb0-406f-9998-f3170cab8724" providerId="ADAL" clId="{64107B24-83EF-4EB3-98F6-1DBAD859182B}" dt="2020-07-13T14:35:18.082" v="60" actId="1076"/>
          <ac:spMkLst>
            <pc:docMk/>
            <pc:sldMk cId="477495771" sldId="262"/>
            <ac:spMk id="22" creationId="{17C2B9D3-F9EF-4C36-8A84-220CA72D93CE}"/>
          </ac:spMkLst>
        </pc:spChg>
        <pc:picChg chg="del">
          <ac:chgData name="Staaden, Isabel (HPE Aruba Germany)" userId="7aecef56-bcb0-406f-9998-f3170cab8724" providerId="ADAL" clId="{64107B24-83EF-4EB3-98F6-1DBAD859182B}" dt="2020-07-13T12:46:45.417" v="1" actId="478"/>
          <ac:picMkLst>
            <pc:docMk/>
            <pc:sldMk cId="477495771" sldId="262"/>
            <ac:picMk id="9" creationId="{FCE52048-A0EB-4128-9D6D-A4F103E1FF71}"/>
          </ac:picMkLst>
        </pc:picChg>
        <pc:picChg chg="add del mod">
          <ac:chgData name="Staaden, Isabel (HPE Aruba Germany)" userId="7aecef56-bcb0-406f-9998-f3170cab8724" providerId="ADAL" clId="{64107B24-83EF-4EB3-98F6-1DBAD859182B}" dt="2020-07-13T12:49:09.977" v="11" actId="478"/>
          <ac:picMkLst>
            <pc:docMk/>
            <pc:sldMk cId="477495771" sldId="262"/>
            <ac:picMk id="11" creationId="{F8FAB16E-53FB-4424-80BA-BD9C33545611}"/>
          </ac:picMkLst>
        </pc:picChg>
        <pc:picChg chg="add mod">
          <ac:chgData name="Staaden, Isabel (HPE Aruba Germany)" userId="7aecef56-bcb0-406f-9998-f3170cab8724" providerId="ADAL" clId="{64107B24-83EF-4EB3-98F6-1DBAD859182B}" dt="2020-07-13T14:34:27.138" v="49" actId="1076"/>
          <ac:picMkLst>
            <pc:docMk/>
            <pc:sldMk cId="477495771" sldId="262"/>
            <ac:picMk id="13" creationId="{678AB6FA-886D-413B-BAEA-26AA32B81AAF}"/>
          </ac:picMkLst>
        </pc:picChg>
        <pc:picChg chg="add mod">
          <ac:chgData name="Staaden, Isabel (HPE Aruba Germany)" userId="7aecef56-bcb0-406f-9998-f3170cab8724" providerId="ADAL" clId="{64107B24-83EF-4EB3-98F6-1DBAD859182B}" dt="2020-07-13T14:34:16.906" v="47" actId="1076"/>
          <ac:picMkLst>
            <pc:docMk/>
            <pc:sldMk cId="477495771" sldId="262"/>
            <ac:picMk id="14" creationId="{C97F67CC-66A0-46C7-B2F1-4C7F837D70AC}"/>
          </ac:picMkLst>
        </pc:picChg>
        <pc:picChg chg="add mod">
          <ac:chgData name="Staaden, Isabel (HPE Aruba Germany)" userId="7aecef56-bcb0-406f-9998-f3170cab8724" providerId="ADAL" clId="{64107B24-83EF-4EB3-98F6-1DBAD859182B}" dt="2020-07-13T14:34:39.572" v="51" actId="1076"/>
          <ac:picMkLst>
            <pc:docMk/>
            <pc:sldMk cId="477495771" sldId="262"/>
            <ac:picMk id="15" creationId="{44B1C0D3-70AF-4CC2-8D67-FFC07B9EE4B3}"/>
          </ac:picMkLst>
        </pc:picChg>
        <pc:picChg chg="add mod">
          <ac:chgData name="Staaden, Isabel (HPE Aruba Germany)" userId="7aecef56-bcb0-406f-9998-f3170cab8724" providerId="ADAL" clId="{64107B24-83EF-4EB3-98F6-1DBAD859182B}" dt="2020-07-13T14:34:22.615" v="48" actId="1076"/>
          <ac:picMkLst>
            <pc:docMk/>
            <pc:sldMk cId="477495771" sldId="262"/>
            <ac:picMk id="2052" creationId="{CEA3030E-775E-4456-A89D-5B9F967978C7}"/>
          </ac:picMkLst>
        </pc:picChg>
        <pc:picChg chg="add mod">
          <ac:chgData name="Staaden, Isabel (HPE Aruba Germany)" userId="7aecef56-bcb0-406f-9998-f3170cab8724" providerId="ADAL" clId="{64107B24-83EF-4EB3-98F6-1DBAD859182B}" dt="2020-07-13T14:34:30.214" v="50" actId="1076"/>
          <ac:picMkLst>
            <pc:docMk/>
            <pc:sldMk cId="477495771" sldId="262"/>
            <ac:picMk id="2054" creationId="{0F7E9AEE-856E-4D69-81ED-9B24174CA13F}"/>
          </ac:picMkLst>
        </pc:picChg>
      </pc:sldChg>
    </pc:docChg>
  </pc:docChgLst>
  <pc:docChgLst>
    <pc:chgData name="Victor Vikunth Veal" userId="61a328d2-0c20-443e-b683-aead3a51f838" providerId="ADAL" clId="{D100D74E-3126-4DAB-A51B-3A90081F9F8B}"/>
    <pc:docChg chg="undo custSel addSld modSld">
      <pc:chgData name="Victor Vikunth Veal" userId="61a328d2-0c20-443e-b683-aead3a51f838" providerId="ADAL" clId="{D100D74E-3126-4DAB-A51B-3A90081F9F8B}" dt="2020-06-30T13:30:24.612" v="888" actId="14100"/>
      <pc:docMkLst>
        <pc:docMk/>
      </pc:docMkLst>
      <pc:sldChg chg="addSp modSp">
        <pc:chgData name="Victor Vikunth Veal" userId="61a328d2-0c20-443e-b683-aead3a51f838" providerId="ADAL" clId="{D100D74E-3126-4DAB-A51B-3A90081F9F8B}" dt="2020-06-30T12:37:11.868" v="765" actId="122"/>
        <pc:sldMkLst>
          <pc:docMk/>
          <pc:sldMk cId="2561161488" sldId="256"/>
        </pc:sldMkLst>
        <pc:spChg chg="mod">
          <ac:chgData name="Victor Vikunth Veal" userId="61a328d2-0c20-443e-b683-aead3a51f838" providerId="ADAL" clId="{D100D74E-3126-4DAB-A51B-3A90081F9F8B}" dt="2020-06-30T11:45:13.516" v="6" actId="113"/>
          <ac:spMkLst>
            <pc:docMk/>
            <pc:sldMk cId="2561161488" sldId="256"/>
            <ac:spMk id="2" creationId="{678310F3-2E25-406D-8666-5AB853C5C003}"/>
          </ac:spMkLst>
        </pc:spChg>
        <pc:spChg chg="add mod">
          <ac:chgData name="Victor Vikunth Veal" userId="61a328d2-0c20-443e-b683-aead3a51f838" providerId="ADAL" clId="{D100D74E-3126-4DAB-A51B-3A90081F9F8B}" dt="2020-06-30T11:53:33.343" v="70" actId="404"/>
          <ac:spMkLst>
            <pc:docMk/>
            <pc:sldMk cId="2561161488" sldId="256"/>
            <ac:spMk id="4" creationId="{4535AF22-B1EF-473C-907C-DAA9A18A2A84}"/>
          </ac:spMkLst>
        </pc:spChg>
        <pc:spChg chg="mod">
          <ac:chgData name="Victor Vikunth Veal" userId="61a328d2-0c20-443e-b683-aead3a51f838" providerId="ADAL" clId="{D100D74E-3126-4DAB-A51B-3A90081F9F8B}" dt="2020-06-30T12:37:05.451" v="762" actId="122"/>
          <ac:spMkLst>
            <pc:docMk/>
            <pc:sldMk cId="2561161488" sldId="256"/>
            <ac:spMk id="13" creationId="{E98FE4E2-4CD6-4EA4-A3BA-E95A4413DB8C}"/>
          </ac:spMkLst>
        </pc:spChg>
        <pc:spChg chg="mod">
          <ac:chgData name="Victor Vikunth Veal" userId="61a328d2-0c20-443e-b683-aead3a51f838" providerId="ADAL" clId="{D100D74E-3126-4DAB-A51B-3A90081F9F8B}" dt="2020-06-30T12:37:07.501" v="763" actId="122"/>
          <ac:spMkLst>
            <pc:docMk/>
            <pc:sldMk cId="2561161488" sldId="256"/>
            <ac:spMk id="14" creationId="{D2EF2F5D-B9E3-475F-8D74-F2649A24F909}"/>
          </ac:spMkLst>
        </pc:spChg>
        <pc:spChg chg="mod">
          <ac:chgData name="Victor Vikunth Veal" userId="61a328d2-0c20-443e-b683-aead3a51f838" providerId="ADAL" clId="{D100D74E-3126-4DAB-A51B-3A90081F9F8B}" dt="2020-06-30T12:37:09.650" v="764" actId="122"/>
          <ac:spMkLst>
            <pc:docMk/>
            <pc:sldMk cId="2561161488" sldId="256"/>
            <ac:spMk id="15" creationId="{7949AD68-8E85-4FE1-8E5C-678231FB077F}"/>
          </ac:spMkLst>
        </pc:spChg>
        <pc:spChg chg="mod">
          <ac:chgData name="Victor Vikunth Veal" userId="61a328d2-0c20-443e-b683-aead3a51f838" providerId="ADAL" clId="{D100D74E-3126-4DAB-A51B-3A90081F9F8B}" dt="2020-06-30T12:37:11.868" v="765" actId="122"/>
          <ac:spMkLst>
            <pc:docMk/>
            <pc:sldMk cId="2561161488" sldId="256"/>
            <ac:spMk id="16" creationId="{55C41403-A46C-46FC-8194-0C15E4AC654E}"/>
          </ac:spMkLst>
        </pc:spChg>
      </pc:sldChg>
      <pc:sldChg chg="addSp delSp modSp">
        <pc:chgData name="Victor Vikunth Veal" userId="61a328d2-0c20-443e-b683-aead3a51f838" providerId="ADAL" clId="{D100D74E-3126-4DAB-A51B-3A90081F9F8B}" dt="2020-06-30T12:47:24.667" v="775" actId="404"/>
        <pc:sldMkLst>
          <pc:docMk/>
          <pc:sldMk cId="3911582079" sldId="257"/>
        </pc:sldMkLst>
        <pc:spChg chg="del">
          <ac:chgData name="Victor Vikunth Veal" userId="61a328d2-0c20-443e-b683-aead3a51f838" providerId="ADAL" clId="{D100D74E-3126-4DAB-A51B-3A90081F9F8B}" dt="2020-06-30T11:45:43.050" v="7"/>
          <ac:spMkLst>
            <pc:docMk/>
            <pc:sldMk cId="3911582079" sldId="257"/>
            <ac:spMk id="3" creationId="{5744F51B-8684-494D-A2A9-C4B3237E6C8C}"/>
          </ac:spMkLst>
        </pc:spChg>
        <pc:spChg chg="add">
          <ac:chgData name="Victor Vikunth Veal" userId="61a328d2-0c20-443e-b683-aead3a51f838" providerId="ADAL" clId="{D100D74E-3126-4DAB-A51B-3A90081F9F8B}" dt="2020-06-30T11:53:40.458" v="71"/>
          <ac:spMkLst>
            <pc:docMk/>
            <pc:sldMk cId="3911582079" sldId="257"/>
            <ac:spMk id="7" creationId="{12463924-CEC1-4138-8346-F6501DE0DEA7}"/>
          </ac:spMkLst>
        </pc:spChg>
        <pc:spChg chg="mod">
          <ac:chgData name="Victor Vikunth Veal" userId="61a328d2-0c20-443e-b683-aead3a51f838" providerId="ADAL" clId="{D100D74E-3126-4DAB-A51B-3A90081F9F8B}" dt="2020-06-30T12:47:24.667" v="775" actId="404"/>
          <ac:spMkLst>
            <pc:docMk/>
            <pc:sldMk cId="3911582079" sldId="257"/>
            <ac:spMk id="14" creationId="{3B19329A-D44D-47F8-8FCD-54D15B375142}"/>
          </ac:spMkLst>
        </pc:spChg>
        <pc:picChg chg="add mod">
          <ac:chgData name="Victor Vikunth Veal" userId="61a328d2-0c20-443e-b683-aead3a51f838" providerId="ADAL" clId="{D100D74E-3126-4DAB-A51B-3A90081F9F8B}" dt="2020-06-30T11:46:05.261" v="9" actId="14100"/>
          <ac:picMkLst>
            <pc:docMk/>
            <pc:sldMk cId="3911582079" sldId="257"/>
            <ac:picMk id="5" creationId="{41580B80-42F4-47F2-A266-0C822DD8A002}"/>
          </ac:picMkLst>
        </pc:picChg>
      </pc:sldChg>
      <pc:sldChg chg="addSp modSp">
        <pc:chgData name="Victor Vikunth Veal" userId="61a328d2-0c20-443e-b683-aead3a51f838" providerId="ADAL" clId="{D100D74E-3126-4DAB-A51B-3A90081F9F8B}" dt="2020-06-30T12:48:07.944" v="783" actId="2711"/>
        <pc:sldMkLst>
          <pc:docMk/>
          <pc:sldMk cId="1433843910" sldId="258"/>
        </pc:sldMkLst>
        <pc:spChg chg="add">
          <ac:chgData name="Victor Vikunth Veal" userId="61a328d2-0c20-443e-b683-aead3a51f838" providerId="ADAL" clId="{D100D74E-3126-4DAB-A51B-3A90081F9F8B}" dt="2020-06-30T11:53:42.406" v="72"/>
          <ac:spMkLst>
            <pc:docMk/>
            <pc:sldMk cId="1433843910" sldId="258"/>
            <ac:spMk id="4" creationId="{04120C8E-6F34-43BD-A87F-1CB4A1D9498F}"/>
          </ac:spMkLst>
        </pc:spChg>
        <pc:spChg chg="mod">
          <ac:chgData name="Victor Vikunth Veal" userId="61a328d2-0c20-443e-b683-aead3a51f838" providerId="ADAL" clId="{D100D74E-3126-4DAB-A51B-3A90081F9F8B}" dt="2020-06-30T12:48:07.944" v="783" actId="2711"/>
          <ac:spMkLst>
            <pc:docMk/>
            <pc:sldMk cId="1433843910" sldId="258"/>
            <ac:spMk id="6" creationId="{327306FA-FC53-401E-8AF2-74E8A4725AD3}"/>
          </ac:spMkLst>
        </pc:spChg>
      </pc:sldChg>
      <pc:sldChg chg="addSp delSp modSp">
        <pc:chgData name="Victor Vikunth Veal" userId="61a328d2-0c20-443e-b683-aead3a51f838" providerId="ADAL" clId="{D100D74E-3126-4DAB-A51B-3A90081F9F8B}" dt="2020-06-30T12:48:00.073" v="781" actId="404"/>
        <pc:sldMkLst>
          <pc:docMk/>
          <pc:sldMk cId="775540487" sldId="259"/>
        </pc:sldMkLst>
        <pc:spChg chg="del mod">
          <ac:chgData name="Victor Vikunth Veal" userId="61a328d2-0c20-443e-b683-aead3a51f838" providerId="ADAL" clId="{D100D74E-3126-4DAB-A51B-3A90081F9F8B}" dt="2020-06-30T12:00:19.710" v="74"/>
          <ac:spMkLst>
            <pc:docMk/>
            <pc:sldMk cId="775540487" sldId="259"/>
            <ac:spMk id="3" creationId="{A5A84790-7CF6-4941-AF06-E971E426F591}"/>
          </ac:spMkLst>
        </pc:spChg>
        <pc:spChg chg="add mod">
          <ac:chgData name="Victor Vikunth Veal" userId="61a328d2-0c20-443e-b683-aead3a51f838" providerId="ADAL" clId="{D100D74E-3126-4DAB-A51B-3A90081F9F8B}" dt="2020-06-30T12:07:17.439" v="448" actId="164"/>
          <ac:spMkLst>
            <pc:docMk/>
            <pc:sldMk cId="775540487" sldId="259"/>
            <ac:spMk id="5" creationId="{38DC3B1E-8BD6-4EA1-9316-0A026133E459}"/>
          </ac:spMkLst>
        </pc:spChg>
        <pc:spChg chg="add mod">
          <ac:chgData name="Victor Vikunth Veal" userId="61a328d2-0c20-443e-b683-aead3a51f838" providerId="ADAL" clId="{D100D74E-3126-4DAB-A51B-3A90081F9F8B}" dt="2020-06-30T12:07:17.439" v="448" actId="164"/>
          <ac:spMkLst>
            <pc:docMk/>
            <pc:sldMk cId="775540487" sldId="259"/>
            <ac:spMk id="6" creationId="{D4C47D7A-96C6-49C9-BA48-4EAB71EB30F1}"/>
          </ac:spMkLst>
        </pc:spChg>
        <pc:spChg chg="add mod">
          <ac:chgData name="Victor Vikunth Veal" userId="61a328d2-0c20-443e-b683-aead3a51f838" providerId="ADAL" clId="{D100D74E-3126-4DAB-A51B-3A90081F9F8B}" dt="2020-06-30T12:07:17.439" v="448" actId="164"/>
          <ac:spMkLst>
            <pc:docMk/>
            <pc:sldMk cId="775540487" sldId="259"/>
            <ac:spMk id="7" creationId="{1D4629BE-3444-4C28-A729-0FED6CB631B2}"/>
          </ac:spMkLst>
        </pc:spChg>
        <pc:spChg chg="add mod">
          <ac:chgData name="Victor Vikunth Veal" userId="61a328d2-0c20-443e-b683-aead3a51f838" providerId="ADAL" clId="{D100D74E-3126-4DAB-A51B-3A90081F9F8B}" dt="2020-06-30T12:07:17.439" v="448" actId="164"/>
          <ac:spMkLst>
            <pc:docMk/>
            <pc:sldMk cId="775540487" sldId="259"/>
            <ac:spMk id="8" creationId="{50ECB459-E26E-4F87-917B-05E170C1E1AB}"/>
          </ac:spMkLst>
        </pc:spChg>
        <pc:spChg chg="add del mod">
          <ac:chgData name="Victor Vikunth Veal" userId="61a328d2-0c20-443e-b683-aead3a51f838" providerId="ADAL" clId="{D100D74E-3126-4DAB-A51B-3A90081F9F8B}" dt="2020-06-30T12:04:32.392" v="312" actId="478"/>
          <ac:spMkLst>
            <pc:docMk/>
            <pc:sldMk cId="775540487" sldId="259"/>
            <ac:spMk id="10" creationId="{5884D0B8-274B-424E-9F9A-4A41385CC956}"/>
          </ac:spMkLst>
        </pc:spChg>
        <pc:spChg chg="mod">
          <ac:chgData name="Victor Vikunth Veal" userId="61a328d2-0c20-443e-b683-aead3a51f838" providerId="ADAL" clId="{D100D74E-3126-4DAB-A51B-3A90081F9F8B}" dt="2020-06-30T12:48:00.073" v="781" actId="404"/>
          <ac:spMkLst>
            <pc:docMk/>
            <pc:sldMk cId="775540487" sldId="259"/>
            <ac:spMk id="40" creationId="{91B74BFA-721E-43D3-AA73-FDC7F664273C}"/>
          </ac:spMkLst>
        </pc:spChg>
        <pc:spChg chg="add mod">
          <ac:chgData name="Victor Vikunth Veal" userId="61a328d2-0c20-443e-b683-aead3a51f838" providerId="ADAL" clId="{D100D74E-3126-4DAB-A51B-3A90081F9F8B}" dt="2020-06-30T12:47:01.382" v="771" actId="1035"/>
          <ac:spMkLst>
            <pc:docMk/>
            <pc:sldMk cId="775540487" sldId="259"/>
            <ac:spMk id="60" creationId="{E58C7FF5-1FFC-4468-9F67-A57CBF8267D7}"/>
          </ac:spMkLst>
        </pc:spChg>
        <pc:grpChg chg="add mod">
          <ac:chgData name="Victor Vikunth Veal" userId="61a328d2-0c20-443e-b683-aead3a51f838" providerId="ADAL" clId="{D100D74E-3126-4DAB-A51B-3A90081F9F8B}" dt="2020-06-30T12:07:17.439" v="448" actId="164"/>
          <ac:grpSpMkLst>
            <pc:docMk/>
            <pc:sldMk cId="775540487" sldId="259"/>
            <ac:grpSpMk id="24" creationId="{4793D199-607A-451C-8598-6FEB331F6637}"/>
          </ac:grpSpMkLst>
        </pc:grpChg>
        <pc:picChg chg="del">
          <ac:chgData name="Victor Vikunth Veal" userId="61a328d2-0c20-443e-b683-aead3a51f838" providerId="ADAL" clId="{D100D74E-3126-4DAB-A51B-3A90081F9F8B}" dt="2020-06-30T12:05:05.559" v="317" actId="478"/>
          <ac:picMkLst>
            <pc:docMk/>
            <pc:sldMk cId="775540487" sldId="259"/>
            <ac:picMk id="3" creationId="{EB8906DF-82CF-4E58-B88E-F2758B3609E5}"/>
          </ac:picMkLst>
        </pc:picChg>
        <pc:picChg chg="add del mod">
          <ac:chgData name="Victor Vikunth Veal" userId="61a328d2-0c20-443e-b683-aead3a51f838" providerId="ADAL" clId="{D100D74E-3126-4DAB-A51B-3A90081F9F8B}" dt="2020-06-30T12:04:26.280" v="311" actId="478"/>
          <ac:picMkLst>
            <pc:docMk/>
            <pc:sldMk cId="775540487" sldId="259"/>
            <ac:picMk id="4" creationId="{ECCB8434-07A2-49F8-99CB-2B20D7D84AB5}"/>
          </ac:picMkLst>
        </pc:picChg>
        <pc:cxnChg chg="add mod">
          <ac:chgData name="Victor Vikunth Veal" userId="61a328d2-0c20-443e-b683-aead3a51f838" providerId="ADAL" clId="{D100D74E-3126-4DAB-A51B-3A90081F9F8B}" dt="2020-06-30T12:07:17.439" v="448" actId="164"/>
          <ac:cxnSpMkLst>
            <pc:docMk/>
            <pc:sldMk cId="775540487" sldId="259"/>
            <ac:cxnSpMk id="14" creationId="{5EFB51AE-EF81-46A1-A9BE-01A71D843FB3}"/>
          </ac:cxnSpMkLst>
        </pc:cxnChg>
        <pc:cxnChg chg="add del mod">
          <ac:chgData name="Victor Vikunth Veal" userId="61a328d2-0c20-443e-b683-aead3a51f838" providerId="ADAL" clId="{D100D74E-3126-4DAB-A51B-3A90081F9F8B}" dt="2020-06-30T12:05:09.972" v="320" actId="478"/>
          <ac:cxnSpMkLst>
            <pc:docMk/>
            <pc:sldMk cId="775540487" sldId="259"/>
            <ac:cxnSpMk id="17" creationId="{9D70364D-9A65-427D-9D43-BEBF79BCAE6E}"/>
          </ac:cxnSpMkLst>
        </pc:cxnChg>
        <pc:cxnChg chg="add mod">
          <ac:chgData name="Victor Vikunth Veal" userId="61a328d2-0c20-443e-b683-aead3a51f838" providerId="ADAL" clId="{D100D74E-3126-4DAB-A51B-3A90081F9F8B}" dt="2020-06-30T12:07:17.439" v="448" actId="164"/>
          <ac:cxnSpMkLst>
            <pc:docMk/>
            <pc:sldMk cId="775540487" sldId="259"/>
            <ac:cxnSpMk id="19" creationId="{83AB7A48-3F50-4EFC-9C13-FFC68FA9585E}"/>
          </ac:cxnSpMkLst>
        </pc:cxnChg>
        <pc:cxnChg chg="add mod">
          <ac:chgData name="Victor Vikunth Veal" userId="61a328d2-0c20-443e-b683-aead3a51f838" providerId="ADAL" clId="{D100D74E-3126-4DAB-A51B-3A90081F9F8B}" dt="2020-06-30T12:07:17.439" v="448" actId="164"/>
          <ac:cxnSpMkLst>
            <pc:docMk/>
            <pc:sldMk cId="775540487" sldId="259"/>
            <ac:cxnSpMk id="20" creationId="{09E1ACC0-6EBD-4069-8B92-755BB0A8210D}"/>
          </ac:cxnSpMkLst>
        </pc:cxnChg>
        <pc:cxnChg chg="add mod">
          <ac:chgData name="Victor Vikunth Veal" userId="61a328d2-0c20-443e-b683-aead3a51f838" providerId="ADAL" clId="{D100D74E-3126-4DAB-A51B-3A90081F9F8B}" dt="2020-06-30T12:07:17.439" v="448" actId="164"/>
          <ac:cxnSpMkLst>
            <pc:docMk/>
            <pc:sldMk cId="775540487" sldId="259"/>
            <ac:cxnSpMk id="21" creationId="{E14A608C-FD04-4194-BA9F-D5983A778189}"/>
          </ac:cxnSpMkLst>
        </pc:cxnChg>
        <pc:cxnChg chg="add mod">
          <ac:chgData name="Victor Vikunth Veal" userId="61a328d2-0c20-443e-b683-aead3a51f838" providerId="ADAL" clId="{D100D74E-3126-4DAB-A51B-3A90081F9F8B}" dt="2020-06-30T12:07:17.439" v="448" actId="164"/>
          <ac:cxnSpMkLst>
            <pc:docMk/>
            <pc:sldMk cId="775540487" sldId="259"/>
            <ac:cxnSpMk id="22" creationId="{6219C78A-E109-4F47-B439-45F5A53C1988}"/>
          </ac:cxnSpMkLst>
        </pc:cxnChg>
        <pc:cxnChg chg="add mod">
          <ac:chgData name="Victor Vikunth Veal" userId="61a328d2-0c20-443e-b683-aead3a51f838" providerId="ADAL" clId="{D100D74E-3126-4DAB-A51B-3A90081F9F8B}" dt="2020-06-30T12:07:17.439" v="448" actId="164"/>
          <ac:cxnSpMkLst>
            <pc:docMk/>
            <pc:sldMk cId="775540487" sldId="259"/>
            <ac:cxnSpMk id="23" creationId="{04CF3FC2-B8A3-49B5-A50D-9C106B339599}"/>
          </ac:cxnSpMkLst>
        </pc:cxnChg>
      </pc:sldChg>
      <pc:sldChg chg="addSp delSp modSp">
        <pc:chgData name="Victor Vikunth Veal" userId="61a328d2-0c20-443e-b683-aead3a51f838" providerId="ADAL" clId="{D100D74E-3126-4DAB-A51B-3A90081F9F8B}" dt="2020-06-30T12:53:34.971" v="791"/>
        <pc:sldMkLst>
          <pc:docMk/>
          <pc:sldMk cId="427399059" sldId="260"/>
        </pc:sldMkLst>
        <pc:spChg chg="mod">
          <ac:chgData name="Victor Vikunth Veal" userId="61a328d2-0c20-443e-b683-aead3a51f838" providerId="ADAL" clId="{D100D74E-3126-4DAB-A51B-3A90081F9F8B}" dt="2020-06-30T12:48:13.369" v="787" actId="404"/>
          <ac:spMkLst>
            <pc:docMk/>
            <pc:sldMk cId="427399059" sldId="260"/>
            <ac:spMk id="5" creationId="{D669E868-A049-4338-979F-F7FF24F52B3F}"/>
          </ac:spMkLst>
        </pc:spChg>
        <pc:spChg chg="add del mod">
          <ac:chgData name="Victor Vikunth Veal" userId="61a328d2-0c20-443e-b683-aead3a51f838" providerId="ADAL" clId="{D100D74E-3126-4DAB-A51B-3A90081F9F8B}" dt="2020-06-30T12:53:19.920" v="790" actId="478"/>
          <ac:spMkLst>
            <pc:docMk/>
            <pc:sldMk cId="427399059" sldId="260"/>
            <ac:spMk id="8" creationId="{89A05180-032E-4DD2-8161-D6E19E5990E8}"/>
          </ac:spMkLst>
        </pc:spChg>
        <pc:spChg chg="add">
          <ac:chgData name="Victor Vikunth Veal" userId="61a328d2-0c20-443e-b683-aead3a51f838" providerId="ADAL" clId="{D100D74E-3126-4DAB-A51B-3A90081F9F8B}" dt="2020-06-30T12:53:34.971" v="791"/>
          <ac:spMkLst>
            <pc:docMk/>
            <pc:sldMk cId="427399059" sldId="260"/>
            <ac:spMk id="9" creationId="{E49C51A7-AF3D-4ED3-8E7D-0BB3EF719BE5}"/>
          </ac:spMkLst>
        </pc:spChg>
      </pc:sldChg>
      <pc:sldChg chg="addSp delSp modSp add">
        <pc:chgData name="Victor Vikunth Veal" userId="61a328d2-0c20-443e-b683-aead3a51f838" providerId="ADAL" clId="{D100D74E-3126-4DAB-A51B-3A90081F9F8B}" dt="2020-06-30T12:13:03.831" v="699" actId="1076"/>
        <pc:sldMkLst>
          <pc:docMk/>
          <pc:sldMk cId="3502996044" sldId="260"/>
        </pc:sldMkLst>
        <pc:spChg chg="del">
          <ac:chgData name="Victor Vikunth Veal" userId="61a328d2-0c20-443e-b683-aead3a51f838" providerId="ADAL" clId="{D100D74E-3126-4DAB-A51B-3A90081F9F8B}" dt="2020-06-30T12:10:34.229" v="511" actId="478"/>
          <ac:spMkLst>
            <pc:docMk/>
            <pc:sldMk cId="3502996044" sldId="260"/>
            <ac:spMk id="2" creationId="{5E86B000-C33C-4746-A263-BC3434CCD4B6}"/>
          </ac:spMkLst>
        </pc:spChg>
        <pc:spChg chg="add del mod">
          <ac:chgData name="Victor Vikunth Veal" userId="61a328d2-0c20-443e-b683-aead3a51f838" providerId="ADAL" clId="{D100D74E-3126-4DAB-A51B-3A90081F9F8B}" dt="2020-06-30T12:10:31.706" v="510" actId="478"/>
          <ac:spMkLst>
            <pc:docMk/>
            <pc:sldMk cId="3502996044" sldId="260"/>
            <ac:spMk id="5" creationId="{38DC3B1E-8BD6-4EA1-9316-0A026133E459}"/>
          </ac:spMkLst>
        </pc:spChg>
        <pc:spChg chg="del">
          <ac:chgData name="Victor Vikunth Veal" userId="61a328d2-0c20-443e-b683-aead3a51f838" providerId="ADAL" clId="{D100D74E-3126-4DAB-A51B-3A90081F9F8B}" dt="2020-06-30T12:09:51.968" v="489" actId="478"/>
          <ac:spMkLst>
            <pc:docMk/>
            <pc:sldMk cId="3502996044" sldId="260"/>
            <ac:spMk id="6" creationId="{D4C47D7A-96C6-49C9-BA48-4EAB71EB30F1}"/>
          </ac:spMkLst>
        </pc:spChg>
        <pc:spChg chg="add mod">
          <ac:chgData name="Victor Vikunth Veal" userId="61a328d2-0c20-443e-b683-aead3a51f838" providerId="ADAL" clId="{D100D74E-3126-4DAB-A51B-3A90081F9F8B}" dt="2020-06-30T12:10:34.229" v="511" actId="478"/>
          <ac:spMkLst>
            <pc:docMk/>
            <pc:sldMk cId="3502996044" sldId="260"/>
            <ac:spMk id="9" creationId="{0DE365CA-FF0B-4A15-9635-23759A18F274}"/>
          </ac:spMkLst>
        </pc:spChg>
        <pc:spChg chg="del">
          <ac:chgData name="Victor Vikunth Veal" userId="61a328d2-0c20-443e-b683-aead3a51f838" providerId="ADAL" clId="{D100D74E-3126-4DAB-A51B-3A90081F9F8B}" dt="2020-06-30T12:10:34.229" v="511" actId="478"/>
          <ac:spMkLst>
            <pc:docMk/>
            <pc:sldMk cId="3502996044" sldId="260"/>
            <ac:spMk id="10" creationId="{3BE0BE09-C365-439E-BAE8-CDBC2740CEF1}"/>
          </ac:spMkLst>
        </pc:spChg>
        <pc:spChg chg="add del mod">
          <ac:chgData name="Victor Vikunth Veal" userId="61a328d2-0c20-443e-b683-aead3a51f838" providerId="ADAL" clId="{D100D74E-3126-4DAB-A51B-3A90081F9F8B}" dt="2020-06-30T12:10:34.229" v="511" actId="478"/>
          <ac:spMkLst>
            <pc:docMk/>
            <pc:sldMk cId="3502996044" sldId="260"/>
            <ac:spMk id="17" creationId="{29DB9CD2-BE7E-4257-89D8-99CB4D189B3D}"/>
          </ac:spMkLst>
        </pc:spChg>
        <pc:spChg chg="add mod">
          <ac:chgData name="Victor Vikunth Veal" userId="61a328d2-0c20-443e-b683-aead3a51f838" providerId="ADAL" clId="{D100D74E-3126-4DAB-A51B-3A90081F9F8B}" dt="2020-06-30T12:13:03.831" v="699" actId="1076"/>
          <ac:spMkLst>
            <pc:docMk/>
            <pc:sldMk cId="3502996044" sldId="260"/>
            <ac:spMk id="25" creationId="{9D4D5FC9-50B9-4191-9D12-1BAB4522A259}"/>
          </ac:spMkLst>
        </pc:spChg>
        <pc:grpChg chg="add del">
          <ac:chgData name="Victor Vikunth Veal" userId="61a328d2-0c20-443e-b683-aead3a51f838" providerId="ADAL" clId="{D100D74E-3126-4DAB-A51B-3A90081F9F8B}" dt="2020-06-30T12:10:34.229" v="511" actId="478"/>
          <ac:grpSpMkLst>
            <pc:docMk/>
            <pc:sldMk cId="3502996044" sldId="260"/>
            <ac:grpSpMk id="24" creationId="{4793D199-607A-451C-8598-6FEB331F6637}"/>
          </ac:grpSpMkLst>
        </pc:grpChg>
        <pc:picChg chg="del">
          <ac:chgData name="Victor Vikunth Veal" userId="61a328d2-0c20-443e-b683-aead3a51f838" providerId="ADAL" clId="{D100D74E-3126-4DAB-A51B-3A90081F9F8B}" dt="2020-06-30T12:10:34.229" v="511" actId="478"/>
          <ac:picMkLst>
            <pc:docMk/>
            <pc:sldMk cId="3502996044" sldId="260"/>
            <ac:picMk id="4" creationId="{F92DB763-BFDD-4AA9-A027-BD6CE73D3EA0}"/>
          </ac:picMkLst>
        </pc:picChg>
        <pc:picChg chg="del">
          <ac:chgData name="Victor Vikunth Veal" userId="61a328d2-0c20-443e-b683-aead3a51f838" providerId="ADAL" clId="{D100D74E-3126-4DAB-A51B-3A90081F9F8B}" dt="2020-06-30T12:10:34.229" v="511" actId="478"/>
          <ac:picMkLst>
            <pc:docMk/>
            <pc:sldMk cId="3502996044" sldId="260"/>
            <ac:picMk id="12" creationId="{3BFBCB42-05E3-474C-BC67-251439F0783B}"/>
          </ac:picMkLst>
        </pc:picChg>
        <pc:cxnChg chg="del">
          <ac:chgData name="Victor Vikunth Veal" userId="61a328d2-0c20-443e-b683-aead3a51f838" providerId="ADAL" clId="{D100D74E-3126-4DAB-A51B-3A90081F9F8B}" dt="2020-06-30T12:09:54.690" v="490" actId="478"/>
          <ac:cxnSpMkLst>
            <pc:docMk/>
            <pc:sldMk cId="3502996044" sldId="260"/>
            <ac:cxnSpMk id="14" creationId="{5EFB51AE-EF81-46A1-A9BE-01A71D843FB3}"/>
          </ac:cxnSpMkLst>
        </pc:cxnChg>
        <pc:cxnChg chg="add del">
          <ac:chgData name="Victor Vikunth Veal" userId="61a328d2-0c20-443e-b683-aead3a51f838" providerId="ADAL" clId="{D100D74E-3126-4DAB-A51B-3A90081F9F8B}" dt="2020-06-30T12:10:03.954" v="495" actId="478"/>
          <ac:cxnSpMkLst>
            <pc:docMk/>
            <pc:sldMk cId="3502996044" sldId="260"/>
            <ac:cxnSpMk id="19" creationId="{83AB7A48-3F50-4EFC-9C13-FFC68FA9585E}"/>
          </ac:cxnSpMkLst>
        </pc:cxnChg>
      </pc:sldChg>
      <pc:sldChg chg="modSp">
        <pc:chgData name="Victor Vikunth Veal" userId="61a328d2-0c20-443e-b683-aead3a51f838" providerId="ADAL" clId="{D100D74E-3126-4DAB-A51B-3A90081F9F8B}" dt="2020-06-30T13:30:24.612" v="888" actId="14100"/>
        <pc:sldMkLst>
          <pc:docMk/>
          <pc:sldMk cId="700343843" sldId="261"/>
        </pc:sldMkLst>
        <pc:spChg chg="mod">
          <ac:chgData name="Victor Vikunth Veal" userId="61a328d2-0c20-443e-b683-aead3a51f838" providerId="ADAL" clId="{D100D74E-3126-4DAB-A51B-3A90081F9F8B}" dt="2020-06-30T13:27:34.515" v="887" actId="5793"/>
          <ac:spMkLst>
            <pc:docMk/>
            <pc:sldMk cId="700343843" sldId="261"/>
            <ac:spMk id="15" creationId="{6D93A9A8-62DF-4499-974C-0336C6773788}"/>
          </ac:spMkLst>
        </pc:spChg>
        <pc:picChg chg="mod">
          <ac:chgData name="Victor Vikunth Veal" userId="61a328d2-0c20-443e-b683-aead3a51f838" providerId="ADAL" clId="{D100D74E-3126-4DAB-A51B-3A90081F9F8B}" dt="2020-06-30T13:30:24.612" v="888" actId="14100"/>
          <ac:picMkLst>
            <pc:docMk/>
            <pc:sldMk cId="700343843" sldId="261"/>
            <ac:picMk id="9" creationId="{826DB8E4-E830-49E5-BB8E-AD65C13336B1}"/>
          </ac:picMkLst>
        </pc:picChg>
      </pc:sldChg>
    </pc:docChg>
  </pc:docChgLst>
  <pc:docChgLst>
    <pc:chgData name="Katrin Schwarz" userId="S::katrin.schwarz@cs.reutlingen-university.de::f6eaed7c-e7ae-4290-939d-706f360a77ee" providerId="AD" clId="Web-{14F837DD-5393-43B1-ADAD-7F7F7F7EF042}"/>
    <pc:docChg chg="addSld modSld">
      <pc:chgData name="Katrin Schwarz" userId="S::katrin.schwarz@cs.reutlingen-university.de::f6eaed7c-e7ae-4290-939d-706f360a77ee" providerId="AD" clId="Web-{14F837DD-5393-43B1-ADAD-7F7F7F7EF042}" dt="2020-06-30T13:35:47.315" v="237" actId="1076"/>
      <pc:docMkLst>
        <pc:docMk/>
      </pc:docMkLst>
      <pc:sldChg chg="addSp delSp modSp">
        <pc:chgData name="Katrin Schwarz" userId="S::katrin.schwarz@cs.reutlingen-university.de::f6eaed7c-e7ae-4290-939d-706f360a77ee" providerId="AD" clId="Web-{14F837DD-5393-43B1-ADAD-7F7F7F7EF042}" dt="2020-06-30T12:44:59.436" v="166" actId="1076"/>
        <pc:sldMkLst>
          <pc:docMk/>
          <pc:sldMk cId="2561161488" sldId="256"/>
        </pc:sldMkLst>
        <pc:spChg chg="mod">
          <ac:chgData name="Katrin Schwarz" userId="S::katrin.schwarz@cs.reutlingen-university.de::f6eaed7c-e7ae-4290-939d-706f360a77ee" providerId="AD" clId="Web-{14F837DD-5393-43B1-ADAD-7F7F7F7EF042}" dt="2020-06-30T12:11:00.909" v="94" actId="20577"/>
          <ac:spMkLst>
            <pc:docMk/>
            <pc:sldMk cId="2561161488" sldId="256"/>
            <ac:spMk id="2" creationId="{678310F3-2E25-406D-8666-5AB853C5C003}"/>
          </ac:spMkLst>
        </pc:spChg>
        <pc:spChg chg="del">
          <ac:chgData name="Katrin Schwarz" userId="S::katrin.schwarz@cs.reutlingen-university.de::f6eaed7c-e7ae-4290-939d-706f360a77ee" providerId="AD" clId="Web-{14F837DD-5393-43B1-ADAD-7F7F7F7EF042}" dt="2020-06-30T12:03:49.169" v="1"/>
          <ac:spMkLst>
            <pc:docMk/>
            <pc:sldMk cId="2561161488" sldId="256"/>
            <ac:spMk id="3" creationId="{8C23CC58-F356-40B3-A8A7-93978EFA317A}"/>
          </ac:spMkLst>
        </pc:spChg>
        <pc:spChg chg="add mod">
          <ac:chgData name="Katrin Schwarz" userId="S::katrin.schwarz@cs.reutlingen-university.de::f6eaed7c-e7ae-4290-939d-706f360a77ee" providerId="AD" clId="Web-{14F837DD-5393-43B1-ADAD-7F7F7F7EF042}" dt="2020-06-30T12:44:05.451" v="142" actId="1076"/>
          <ac:spMkLst>
            <pc:docMk/>
            <pc:sldMk cId="2561161488" sldId="256"/>
            <ac:spMk id="13" creationId="{E98FE4E2-4CD6-4EA4-A3BA-E95A4413DB8C}"/>
          </ac:spMkLst>
        </pc:spChg>
        <pc:spChg chg="add mod">
          <ac:chgData name="Katrin Schwarz" userId="S::katrin.schwarz@cs.reutlingen-university.de::f6eaed7c-e7ae-4290-939d-706f360a77ee" providerId="AD" clId="Web-{14F837DD-5393-43B1-ADAD-7F7F7F7EF042}" dt="2020-06-30T12:44:05.466" v="144" actId="1076"/>
          <ac:spMkLst>
            <pc:docMk/>
            <pc:sldMk cId="2561161488" sldId="256"/>
            <ac:spMk id="14" creationId="{D2EF2F5D-B9E3-475F-8D74-F2649A24F909}"/>
          </ac:spMkLst>
        </pc:spChg>
        <pc:spChg chg="add mod">
          <ac:chgData name="Katrin Schwarz" userId="S::katrin.schwarz@cs.reutlingen-university.de::f6eaed7c-e7ae-4290-939d-706f360a77ee" providerId="AD" clId="Web-{14F837DD-5393-43B1-ADAD-7F7F7F7EF042}" dt="2020-06-30T12:44:05.466" v="143" actId="1076"/>
          <ac:spMkLst>
            <pc:docMk/>
            <pc:sldMk cId="2561161488" sldId="256"/>
            <ac:spMk id="15" creationId="{7949AD68-8E85-4FE1-8E5C-678231FB077F}"/>
          </ac:spMkLst>
        </pc:spChg>
        <pc:spChg chg="add mod">
          <ac:chgData name="Katrin Schwarz" userId="S::katrin.schwarz@cs.reutlingen-university.de::f6eaed7c-e7ae-4290-939d-706f360a77ee" providerId="AD" clId="Web-{14F837DD-5393-43B1-ADAD-7F7F7F7EF042}" dt="2020-06-30T12:44:05.451" v="141" actId="1076"/>
          <ac:spMkLst>
            <pc:docMk/>
            <pc:sldMk cId="2561161488" sldId="256"/>
            <ac:spMk id="16" creationId="{55C41403-A46C-46FC-8194-0C15E4AC654E}"/>
          </ac:spMkLst>
        </pc:spChg>
        <pc:spChg chg="add mod">
          <ac:chgData name="Katrin Schwarz" userId="S::katrin.schwarz@cs.reutlingen-university.de::f6eaed7c-e7ae-4290-939d-706f360a77ee" providerId="AD" clId="Web-{14F837DD-5393-43B1-ADAD-7F7F7F7EF042}" dt="2020-06-30T12:44:59.436" v="166" actId="1076"/>
          <ac:spMkLst>
            <pc:docMk/>
            <pc:sldMk cId="2561161488" sldId="256"/>
            <ac:spMk id="18" creationId="{A2774D39-2C6A-4245-B788-64D05B6B4C90}"/>
          </ac:spMkLst>
        </pc:spChg>
        <pc:picChg chg="add mod">
          <ac:chgData name="Katrin Schwarz" userId="S::katrin.schwarz@cs.reutlingen-university.de::f6eaed7c-e7ae-4290-939d-706f360a77ee" providerId="AD" clId="Web-{14F837DD-5393-43B1-ADAD-7F7F7F7EF042}" dt="2020-06-30T12:04:44.764" v="15" actId="1076"/>
          <ac:picMkLst>
            <pc:docMk/>
            <pc:sldMk cId="2561161488" sldId="256"/>
            <ac:picMk id="6" creationId="{CC1D36A6-0315-445C-8FDC-5FE35BF47A3B}"/>
          </ac:picMkLst>
        </pc:picChg>
        <pc:picChg chg="add mod">
          <ac:chgData name="Katrin Schwarz" userId="S::katrin.schwarz@cs.reutlingen-university.de::f6eaed7c-e7ae-4290-939d-706f360a77ee" providerId="AD" clId="Web-{14F837DD-5393-43B1-ADAD-7F7F7F7EF042}" dt="2020-06-30T12:43:35.044" v="133" actId="1076"/>
          <ac:picMkLst>
            <pc:docMk/>
            <pc:sldMk cId="2561161488" sldId="256"/>
            <ac:picMk id="8" creationId="{39916720-D75F-444F-8012-E59B0D05F227}"/>
          </ac:picMkLst>
        </pc:picChg>
        <pc:picChg chg="add mod">
          <ac:chgData name="Katrin Schwarz" userId="S::katrin.schwarz@cs.reutlingen-university.de::f6eaed7c-e7ae-4290-939d-706f360a77ee" providerId="AD" clId="Web-{14F837DD-5393-43B1-ADAD-7F7F7F7EF042}" dt="2020-06-30T12:04:44.826" v="17" actId="1076"/>
          <ac:picMkLst>
            <pc:docMk/>
            <pc:sldMk cId="2561161488" sldId="256"/>
            <ac:picMk id="10" creationId="{61E9E4C6-2868-4BFD-89BE-CA2416EB6543}"/>
          </ac:picMkLst>
        </pc:picChg>
        <pc:picChg chg="add mod">
          <ac:chgData name="Katrin Schwarz" userId="S::katrin.schwarz@cs.reutlingen-university.de::f6eaed7c-e7ae-4290-939d-706f360a77ee" providerId="AD" clId="Web-{14F837DD-5393-43B1-ADAD-7F7F7F7EF042}" dt="2020-06-30T12:43:35.075" v="134" actId="1076"/>
          <ac:picMkLst>
            <pc:docMk/>
            <pc:sldMk cId="2561161488" sldId="256"/>
            <ac:picMk id="12" creationId="{8BC9D966-DAEB-4871-A874-4090C72BCEE8}"/>
          </ac:picMkLst>
        </pc:picChg>
      </pc:sldChg>
      <pc:sldChg chg="addSp delSp modSp">
        <pc:chgData name="Katrin Schwarz" userId="S::katrin.schwarz@cs.reutlingen-university.de::f6eaed7c-e7ae-4290-939d-706f360a77ee" providerId="AD" clId="Web-{14F837DD-5393-43B1-ADAD-7F7F7F7EF042}" dt="2020-06-30T12:21:22.589" v="111"/>
        <pc:sldMkLst>
          <pc:docMk/>
          <pc:sldMk cId="3911582079" sldId="257"/>
        </pc:sldMkLst>
        <pc:spChg chg="add mod">
          <ac:chgData name="Katrin Schwarz" userId="S::katrin.schwarz@cs.reutlingen-university.de::f6eaed7c-e7ae-4290-939d-706f360a77ee" providerId="AD" clId="Web-{14F837DD-5393-43B1-ADAD-7F7F7F7EF042}" dt="2020-06-30T12:21:15.402" v="103" actId="20577"/>
          <ac:spMkLst>
            <pc:docMk/>
            <pc:sldMk cId="3911582079" sldId="257"/>
            <ac:spMk id="8" creationId="{194F5B89-D912-4C43-9238-144709DFA6EE}"/>
          </ac:spMkLst>
        </pc:spChg>
        <pc:spChg chg="add del mod">
          <ac:chgData name="Katrin Schwarz" userId="S::katrin.schwarz@cs.reutlingen-university.de::f6eaed7c-e7ae-4290-939d-706f360a77ee" providerId="AD" clId="Web-{14F837DD-5393-43B1-ADAD-7F7F7F7EF042}" dt="2020-06-30T12:21:22.589" v="111"/>
          <ac:spMkLst>
            <pc:docMk/>
            <pc:sldMk cId="3911582079" sldId="257"/>
            <ac:spMk id="10" creationId="{1D9F1DF2-4CA9-4F80-9A1E-73E504800485}"/>
          </ac:spMkLst>
        </pc:spChg>
        <pc:picChg chg="del">
          <ac:chgData name="Katrin Schwarz" userId="S::katrin.schwarz@cs.reutlingen-university.de::f6eaed7c-e7ae-4290-939d-706f360a77ee" providerId="AD" clId="Web-{14F837DD-5393-43B1-ADAD-7F7F7F7EF042}" dt="2020-06-30T12:04:29.764" v="11"/>
          <ac:picMkLst>
            <pc:docMk/>
            <pc:sldMk cId="3911582079" sldId="257"/>
            <ac:picMk id="3" creationId="{BB7430AE-2D19-4568-ACE1-9E1B3DFAE49F}"/>
          </ac:picMkLst>
        </pc:picChg>
        <pc:picChg chg="del">
          <ac:chgData name="Katrin Schwarz" userId="S::katrin.schwarz@cs.reutlingen-university.de::f6eaed7c-e7ae-4290-939d-706f360a77ee" providerId="AD" clId="Web-{14F837DD-5393-43B1-ADAD-7F7F7F7EF042}" dt="2020-06-30T12:04:29.811" v="13"/>
          <ac:picMkLst>
            <pc:docMk/>
            <pc:sldMk cId="3911582079" sldId="257"/>
            <ac:picMk id="5" creationId="{41580B80-42F4-47F2-A266-0C822DD8A002}"/>
          </ac:picMkLst>
        </pc:picChg>
        <pc:picChg chg="del">
          <ac:chgData name="Katrin Schwarz" userId="S::katrin.schwarz@cs.reutlingen-university.de::f6eaed7c-e7ae-4290-939d-706f360a77ee" providerId="AD" clId="Web-{14F837DD-5393-43B1-ADAD-7F7F7F7EF042}" dt="2020-06-30T12:04:29.764" v="12"/>
          <ac:picMkLst>
            <pc:docMk/>
            <pc:sldMk cId="3911582079" sldId="257"/>
            <ac:picMk id="6" creationId="{C5C1BB95-FF02-4792-BF31-ADFF4164276B}"/>
          </ac:picMkLst>
        </pc:picChg>
        <pc:picChg chg="del">
          <ac:chgData name="Katrin Schwarz" userId="S::katrin.schwarz@cs.reutlingen-university.de::f6eaed7c-e7ae-4290-939d-706f360a77ee" providerId="AD" clId="Web-{14F837DD-5393-43B1-ADAD-7F7F7F7EF042}" dt="2020-06-30T12:04:29.764" v="10"/>
          <ac:picMkLst>
            <pc:docMk/>
            <pc:sldMk cId="3911582079" sldId="257"/>
            <ac:picMk id="9" creationId="{61BAD649-1082-4C32-A644-9E23CD54AFD8}"/>
          </ac:picMkLst>
        </pc:picChg>
      </pc:sldChg>
      <pc:sldChg chg="delSp modSp new">
        <pc:chgData name="Katrin Schwarz" userId="S::katrin.schwarz@cs.reutlingen-university.de::f6eaed7c-e7ae-4290-939d-706f360a77ee" providerId="AD" clId="Web-{14F837DD-5393-43B1-ADAD-7F7F7F7EF042}" dt="2020-06-30T12:37:25.149" v="127"/>
        <pc:sldMkLst>
          <pc:docMk/>
          <pc:sldMk cId="427399059" sldId="260"/>
        </pc:sldMkLst>
        <pc:spChg chg="mod">
          <ac:chgData name="Katrin Schwarz" userId="S::katrin.schwarz@cs.reutlingen-university.de::f6eaed7c-e7ae-4290-939d-706f360a77ee" providerId="AD" clId="Web-{14F837DD-5393-43B1-ADAD-7F7F7F7EF042}" dt="2020-06-30T12:37:21.930" v="126" actId="20577"/>
          <ac:spMkLst>
            <pc:docMk/>
            <pc:sldMk cId="427399059" sldId="260"/>
            <ac:spMk id="2" creationId="{8BD69CE1-D1AE-4040-A641-474472F6FB95}"/>
          </ac:spMkLst>
        </pc:spChg>
        <pc:spChg chg="del">
          <ac:chgData name="Katrin Schwarz" userId="S::katrin.schwarz@cs.reutlingen-university.de::f6eaed7c-e7ae-4290-939d-706f360a77ee" providerId="AD" clId="Web-{14F837DD-5393-43B1-ADAD-7F7F7F7EF042}" dt="2020-06-30T12:37:25.149" v="127"/>
          <ac:spMkLst>
            <pc:docMk/>
            <pc:sldMk cId="427399059" sldId="260"/>
            <ac:spMk id="3" creationId="{75D926F8-F77A-4BE5-9813-1342E91681F4}"/>
          </ac:spMkLst>
        </pc:spChg>
      </pc:sldChg>
      <pc:sldChg chg="addSp delSp modSp">
        <pc:chgData name="Katrin Schwarz" userId="S::katrin.schwarz@cs.reutlingen-university.de::f6eaed7c-e7ae-4290-939d-706f360a77ee" providerId="AD" clId="Web-{14F837DD-5393-43B1-ADAD-7F7F7F7EF042}" dt="2020-06-30T13:35:47.315" v="237" actId="1076"/>
        <pc:sldMkLst>
          <pc:docMk/>
          <pc:sldMk cId="700343843" sldId="261"/>
        </pc:sldMkLst>
        <pc:spChg chg="mod">
          <ac:chgData name="Katrin Schwarz" userId="S::katrin.schwarz@cs.reutlingen-university.de::f6eaed7c-e7ae-4290-939d-706f360a77ee" providerId="AD" clId="Web-{14F837DD-5393-43B1-ADAD-7F7F7F7EF042}" dt="2020-06-30T13:35:47.315" v="237" actId="1076"/>
          <ac:spMkLst>
            <pc:docMk/>
            <pc:sldMk cId="700343843" sldId="261"/>
            <ac:spMk id="15" creationId="{6D93A9A8-62DF-4499-974C-0336C6773788}"/>
          </ac:spMkLst>
        </pc:spChg>
        <pc:spChg chg="add del mod">
          <ac:chgData name="Katrin Schwarz" userId="S::katrin.schwarz@cs.reutlingen-university.de::f6eaed7c-e7ae-4290-939d-706f360a77ee" providerId="AD" clId="Web-{14F837DD-5393-43B1-ADAD-7F7F7F7EF042}" dt="2020-06-30T13:22:47.853" v="192"/>
          <ac:spMkLst>
            <pc:docMk/>
            <pc:sldMk cId="700343843" sldId="261"/>
            <ac:spMk id="17" creationId="{1CDAFCC3-5320-4774-BE5E-BAA4ECE50955}"/>
          </ac:spMkLst>
        </pc:spChg>
        <pc:spChg chg="add mod">
          <ac:chgData name="Katrin Schwarz" userId="S::katrin.schwarz@cs.reutlingen-university.de::f6eaed7c-e7ae-4290-939d-706f360a77ee" providerId="AD" clId="Web-{14F837DD-5393-43B1-ADAD-7F7F7F7EF042}" dt="2020-06-30T13:31:32.546" v="226" actId="1076"/>
          <ac:spMkLst>
            <pc:docMk/>
            <pc:sldMk cId="700343843" sldId="261"/>
            <ac:spMk id="19" creationId="{9E815A05-F67B-411E-82F1-77B1508273CB}"/>
          </ac:spMkLst>
        </pc:spChg>
        <pc:picChg chg="mod">
          <ac:chgData name="Katrin Schwarz" userId="S::katrin.schwarz@cs.reutlingen-university.de::f6eaed7c-e7ae-4290-939d-706f360a77ee" providerId="AD" clId="Web-{14F837DD-5393-43B1-ADAD-7F7F7F7EF042}" dt="2020-06-30T13:29:26.436" v="214" actId="14100"/>
          <ac:picMkLst>
            <pc:docMk/>
            <pc:sldMk cId="700343843" sldId="261"/>
            <ac:picMk id="7" creationId="{920D92D6-7D3B-4D8E-8E6C-A1A282425754}"/>
          </ac:picMkLst>
        </pc:picChg>
        <pc:picChg chg="add del mod">
          <ac:chgData name="Katrin Schwarz" userId="S::katrin.schwarz@cs.reutlingen-university.de::f6eaed7c-e7ae-4290-939d-706f360a77ee" providerId="AD" clId="Web-{14F837DD-5393-43B1-ADAD-7F7F7F7EF042}" dt="2020-06-30T13:21:34.400" v="182"/>
          <ac:picMkLst>
            <pc:docMk/>
            <pc:sldMk cId="700343843" sldId="261"/>
            <ac:picMk id="8" creationId="{F9B3B0A7-CF85-4D59-B04C-49669A3D06EA}"/>
          </ac:picMkLst>
        </pc:picChg>
        <pc:picChg chg="mod">
          <ac:chgData name="Katrin Schwarz" userId="S::katrin.schwarz@cs.reutlingen-university.de::f6eaed7c-e7ae-4290-939d-706f360a77ee" providerId="AD" clId="Web-{14F837DD-5393-43B1-ADAD-7F7F7F7EF042}" dt="2020-06-30T13:31:17.656" v="224" actId="1076"/>
          <ac:picMkLst>
            <pc:docMk/>
            <pc:sldMk cId="700343843" sldId="261"/>
            <ac:picMk id="9" creationId="{826DB8E4-E830-49E5-BB8E-AD65C13336B1}"/>
          </ac:picMkLst>
        </pc:picChg>
        <pc:picChg chg="add del mod">
          <ac:chgData name="Katrin Schwarz" userId="S::katrin.schwarz@cs.reutlingen-university.de::f6eaed7c-e7ae-4290-939d-706f360a77ee" providerId="AD" clId="Web-{14F837DD-5393-43B1-ADAD-7F7F7F7EF042}" dt="2020-06-30T13:21:34.118" v="181"/>
          <ac:picMkLst>
            <pc:docMk/>
            <pc:sldMk cId="700343843" sldId="261"/>
            <ac:picMk id="10" creationId="{0382AD88-F4F5-4DD9-B774-E137791AB0D7}"/>
          </ac:picMkLst>
        </pc:picChg>
        <pc:picChg chg="add del mod">
          <ac:chgData name="Katrin Schwarz" userId="S::katrin.schwarz@cs.reutlingen-university.de::f6eaed7c-e7ae-4290-939d-706f360a77ee" providerId="AD" clId="Web-{14F837DD-5393-43B1-ADAD-7F7F7F7EF042}" dt="2020-06-30T13:21:31.837" v="180"/>
          <ac:picMkLst>
            <pc:docMk/>
            <pc:sldMk cId="700343843" sldId="261"/>
            <ac:picMk id="11" creationId="{FEA15F68-997F-4EE3-B51D-77DE657D7D7A}"/>
          </ac:picMkLst>
        </pc:picChg>
        <pc:picChg chg="add del mod">
          <ac:chgData name="Katrin Schwarz" userId="S::katrin.schwarz@cs.reutlingen-university.de::f6eaed7c-e7ae-4290-939d-706f360a77ee" providerId="AD" clId="Web-{14F837DD-5393-43B1-ADAD-7F7F7F7EF042}" dt="2020-06-30T13:21:28.509" v="178"/>
          <ac:picMkLst>
            <pc:docMk/>
            <pc:sldMk cId="700343843" sldId="261"/>
            <ac:picMk id="12" creationId="{97F86F0E-BECF-40D4-8A96-A16E839CECA3}"/>
          </ac:picMkLst>
        </pc:picChg>
        <pc:picChg chg="add del mod">
          <ac:chgData name="Katrin Schwarz" userId="S::katrin.schwarz@cs.reutlingen-university.de::f6eaed7c-e7ae-4290-939d-706f360a77ee" providerId="AD" clId="Web-{14F837DD-5393-43B1-ADAD-7F7F7F7EF042}" dt="2020-06-30T13:21:30.306" v="179"/>
          <ac:picMkLst>
            <pc:docMk/>
            <pc:sldMk cId="700343843" sldId="261"/>
            <ac:picMk id="13" creationId="{5B0D26A9-A9D6-4117-BB7E-E947B1862796}"/>
          </ac:picMkLst>
        </pc:picChg>
        <pc:picChg chg="add mod">
          <ac:chgData name="Katrin Schwarz" userId="S::katrin.schwarz@cs.reutlingen-university.de::f6eaed7c-e7ae-4290-939d-706f360a77ee" providerId="AD" clId="Web-{14F837DD-5393-43B1-ADAD-7F7F7F7EF042}" dt="2020-06-30T13:31:14.202" v="222" actId="1076"/>
          <ac:picMkLst>
            <pc:docMk/>
            <pc:sldMk cId="700343843" sldId="261"/>
            <ac:picMk id="16" creationId="{4DBA6DCD-4D70-4B71-8B3E-248098CC0041}"/>
          </ac:picMkLst>
        </pc:picChg>
        <pc:picChg chg="add del mod">
          <ac:chgData name="Katrin Schwarz" userId="S::katrin.schwarz@cs.reutlingen-university.de::f6eaed7c-e7ae-4290-939d-706f360a77ee" providerId="AD" clId="Web-{14F837DD-5393-43B1-ADAD-7F7F7F7EF042}" dt="2020-06-30T13:24:20.479" v="198"/>
          <ac:picMkLst>
            <pc:docMk/>
            <pc:sldMk cId="700343843" sldId="261"/>
            <ac:picMk id="18" creationId="{97243EE4-363E-4B4C-86A3-C3FCA68F64D6}"/>
          </ac:picMkLst>
        </pc:picChg>
        <pc:picChg chg="add mod">
          <ac:chgData name="Katrin Schwarz" userId="S::katrin.schwarz@cs.reutlingen-university.de::f6eaed7c-e7ae-4290-939d-706f360a77ee" providerId="AD" clId="Web-{14F837DD-5393-43B1-ADAD-7F7F7F7EF042}" dt="2020-06-30T13:30:53.296" v="218" actId="1076"/>
          <ac:picMkLst>
            <pc:docMk/>
            <pc:sldMk cId="700343843" sldId="261"/>
            <ac:picMk id="20" creationId="{896631D6-05EA-4E13-93F8-D09D6F475BD2}"/>
          </ac:picMkLst>
        </pc:picChg>
        <pc:cxnChg chg="add mod">
          <ac:chgData name="Katrin Schwarz" userId="S::katrin.schwarz@cs.reutlingen-university.de::f6eaed7c-e7ae-4290-939d-706f360a77ee" providerId="AD" clId="Web-{14F837DD-5393-43B1-ADAD-7F7F7F7EF042}" dt="2020-06-30T13:21:58.556" v="186" actId="14100"/>
          <ac:cxnSpMkLst>
            <pc:docMk/>
            <pc:sldMk cId="700343843" sldId="261"/>
            <ac:cxnSpMk id="6" creationId="{F9C10A51-C2D7-4D7D-AAED-8E3C37665CED}"/>
          </ac:cxnSpMkLst>
        </pc:cxnChg>
      </pc:sldChg>
    </pc:docChg>
  </pc:docChgLst>
  <pc:docChgLst>
    <pc:chgData name="Katrin Schwarz" userId="S::katrin.schwarz@cs.reutlingen-university.de::f6eaed7c-e7ae-4290-939d-706f360a77ee" providerId="AD" clId="Web-{55435195-9D55-4F57-93AF-9D614E04F79C}"/>
    <pc:docChg chg="addSld modSld">
      <pc:chgData name="Katrin Schwarz" userId="S::katrin.schwarz@cs.reutlingen-university.de::f6eaed7c-e7ae-4290-939d-706f360a77ee" providerId="AD" clId="Web-{55435195-9D55-4F57-93AF-9D614E04F79C}" dt="2020-06-30T11:58:45.301" v="94" actId="14100"/>
      <pc:docMkLst>
        <pc:docMk/>
      </pc:docMkLst>
      <pc:sldChg chg="addSp delSp modSp new">
        <pc:chgData name="Katrin Schwarz" userId="S::katrin.schwarz@cs.reutlingen-university.de::f6eaed7c-e7ae-4290-939d-706f360a77ee" providerId="AD" clId="Web-{55435195-9D55-4F57-93AF-9D614E04F79C}" dt="2020-06-30T11:58:45.301" v="94" actId="14100"/>
        <pc:sldMkLst>
          <pc:docMk/>
          <pc:sldMk cId="3911582079" sldId="257"/>
        </pc:sldMkLst>
        <pc:spChg chg="mod">
          <ac:chgData name="Katrin Schwarz" userId="S::katrin.schwarz@cs.reutlingen-university.de::f6eaed7c-e7ae-4290-939d-706f360a77ee" providerId="AD" clId="Web-{55435195-9D55-4F57-93AF-9D614E04F79C}" dt="2020-06-30T11:51:42.984" v="23" actId="20577"/>
          <ac:spMkLst>
            <pc:docMk/>
            <pc:sldMk cId="3911582079" sldId="257"/>
            <ac:spMk id="2" creationId="{6417FA33-2CEB-4BBF-8631-BCD5C900B44A}"/>
          </ac:spMkLst>
        </pc:spChg>
        <pc:spChg chg="add del mod">
          <ac:chgData name="Katrin Schwarz" userId="S::katrin.schwarz@cs.reutlingen-university.de::f6eaed7c-e7ae-4290-939d-706f360a77ee" providerId="AD" clId="Web-{55435195-9D55-4F57-93AF-9D614E04F79C}" dt="2020-06-30T11:46:23.902" v="4"/>
          <ac:spMkLst>
            <pc:docMk/>
            <pc:sldMk cId="3911582079" sldId="257"/>
            <ac:spMk id="4" creationId="{B59EF9AB-A03C-4D93-89DC-63C1EC1C286B}"/>
          </ac:spMkLst>
        </pc:spChg>
        <pc:spChg chg="add del mod">
          <ac:chgData name="Katrin Schwarz" userId="S::katrin.schwarz@cs.reutlingen-university.de::f6eaed7c-e7ae-4290-939d-706f360a77ee" providerId="AD" clId="Web-{55435195-9D55-4F57-93AF-9D614E04F79C}" dt="2020-06-30T11:57:31.363" v="90"/>
          <ac:spMkLst>
            <pc:docMk/>
            <pc:sldMk cId="3911582079" sldId="257"/>
            <ac:spMk id="8" creationId="{E434DB64-4224-4581-83B5-F23D844F21A8}"/>
          </ac:spMkLst>
        </pc:spChg>
        <pc:picChg chg="mod">
          <ac:chgData name="Katrin Schwarz" userId="S::katrin.schwarz@cs.reutlingen-university.de::f6eaed7c-e7ae-4290-939d-706f360a77ee" providerId="AD" clId="Web-{55435195-9D55-4F57-93AF-9D614E04F79C}" dt="2020-06-30T11:48:33.669" v="11" actId="1076"/>
          <ac:picMkLst>
            <pc:docMk/>
            <pc:sldMk cId="3911582079" sldId="257"/>
            <ac:picMk id="5" creationId="{41580B80-42F4-47F2-A266-0C822DD8A002}"/>
          </ac:picMkLst>
        </pc:picChg>
        <pc:picChg chg="add mod">
          <ac:chgData name="Katrin Schwarz" userId="S::katrin.schwarz@cs.reutlingen-university.de::f6eaed7c-e7ae-4290-939d-706f360a77ee" providerId="AD" clId="Web-{55435195-9D55-4F57-93AF-9D614E04F79C}" dt="2020-06-30T11:48:33.700" v="12" actId="1076"/>
          <ac:picMkLst>
            <pc:docMk/>
            <pc:sldMk cId="3911582079" sldId="257"/>
            <ac:picMk id="6" creationId="{C5C1BB95-FF02-4792-BF31-ADFF4164276B}"/>
          </ac:picMkLst>
        </pc:picChg>
        <pc:picChg chg="add mod">
          <ac:chgData name="Katrin Schwarz" userId="S::katrin.schwarz@cs.reutlingen-university.de::f6eaed7c-e7ae-4290-939d-706f360a77ee" providerId="AD" clId="Web-{55435195-9D55-4F57-93AF-9D614E04F79C}" dt="2020-06-30T11:58:45.301" v="94" actId="14100"/>
          <ac:picMkLst>
            <pc:docMk/>
            <pc:sldMk cId="3911582079" sldId="257"/>
            <ac:picMk id="9" creationId="{61BAD649-1082-4C32-A644-9E23CD54AFD8}"/>
          </ac:picMkLst>
        </pc:picChg>
      </pc:sldChg>
      <pc:sldChg chg="modSp">
        <pc:chgData name="Katrin Schwarz" userId="S::katrin.schwarz@cs.reutlingen-university.de::f6eaed7c-e7ae-4290-939d-706f360a77ee" providerId="AD" clId="Web-{55435195-9D55-4F57-93AF-9D614E04F79C}" dt="2020-06-30T11:53:55.438" v="78" actId="20577"/>
        <pc:sldMkLst>
          <pc:docMk/>
          <pc:sldMk cId="1433843910" sldId="258"/>
        </pc:sldMkLst>
        <pc:spChg chg="mod">
          <ac:chgData name="Katrin Schwarz" userId="S::katrin.schwarz@cs.reutlingen-university.de::f6eaed7c-e7ae-4290-939d-706f360a77ee" providerId="AD" clId="Web-{55435195-9D55-4F57-93AF-9D614E04F79C}" dt="2020-06-30T11:53:55.438" v="78" actId="20577"/>
          <ac:spMkLst>
            <pc:docMk/>
            <pc:sldMk cId="1433843910" sldId="258"/>
            <ac:spMk id="2" creationId="{A9691F4B-2172-4A29-944D-521DEAB2AF47}"/>
          </ac:spMkLst>
        </pc:spChg>
      </pc:sldChg>
    </pc:docChg>
  </pc:docChgLst>
  <pc:docChgLst>
    <pc:chgData name="Isabel Cecile Staaden" userId="S::isabel_cecile.staaden@cs.reutlingen-university.de::3c1b1903-24ee-4c58-b486-3184dcc13670" providerId="AD" clId="Web-{CF7CFC37-8DDD-489B-A0AE-68C4A0CA7E56}"/>
    <pc:docChg chg="addSld delSld modSld">
      <pc:chgData name="Isabel Cecile Staaden" userId="S::isabel_cecile.staaden@cs.reutlingen-university.de::3c1b1903-24ee-4c58-b486-3184dcc13670" providerId="AD" clId="Web-{CF7CFC37-8DDD-489B-A0AE-68C4A0CA7E56}" dt="2020-06-30T12:26:09.681" v="47" actId="14100"/>
      <pc:docMkLst>
        <pc:docMk/>
      </pc:docMkLst>
      <pc:sldChg chg="addSp modSp">
        <pc:chgData name="Isabel Cecile Staaden" userId="S::isabel_cecile.staaden@cs.reutlingen-university.de::3c1b1903-24ee-4c58-b486-3184dcc13670" providerId="AD" clId="Web-{CF7CFC37-8DDD-489B-A0AE-68C4A0CA7E56}" dt="2020-06-30T12:26:09.681" v="47" actId="14100"/>
        <pc:sldMkLst>
          <pc:docMk/>
          <pc:sldMk cId="775540487" sldId="259"/>
        </pc:sldMkLst>
        <pc:spChg chg="add mod">
          <ac:chgData name="Isabel Cecile Staaden" userId="S::isabel_cecile.staaden@cs.reutlingen-university.de::3c1b1903-24ee-4c58-b486-3184dcc13670" providerId="AD" clId="Web-{CF7CFC37-8DDD-489B-A0AE-68C4A0CA7E56}" dt="2020-06-30T12:21:53.897" v="33" actId="1076"/>
          <ac:spMkLst>
            <pc:docMk/>
            <pc:sldMk cId="775540487" sldId="259"/>
            <ac:spMk id="9" creationId="{285E9A2E-06A4-4961-A711-97E323C9D4CB}"/>
          </ac:spMkLst>
        </pc:spChg>
        <pc:spChg chg="add mod">
          <ac:chgData name="Isabel Cecile Staaden" userId="S::isabel_cecile.staaden@cs.reutlingen-university.de::3c1b1903-24ee-4c58-b486-3184dcc13670" providerId="AD" clId="Web-{CF7CFC37-8DDD-489B-A0AE-68C4A0CA7E56}" dt="2020-06-30T12:21:42.115" v="30" actId="1076"/>
          <ac:spMkLst>
            <pc:docMk/>
            <pc:sldMk cId="775540487" sldId="259"/>
            <ac:spMk id="25" creationId="{E5D7E857-DB4D-4F36-815C-5CF393B0F183}"/>
          </ac:spMkLst>
        </pc:spChg>
        <pc:spChg chg="add mod">
          <ac:chgData name="Isabel Cecile Staaden" userId="S::isabel_cecile.staaden@cs.reutlingen-university.de::3c1b1903-24ee-4c58-b486-3184dcc13670" providerId="AD" clId="Web-{CF7CFC37-8DDD-489B-A0AE-68C4A0CA7E56}" dt="2020-06-30T12:21:47.350" v="31" actId="1076"/>
          <ac:spMkLst>
            <pc:docMk/>
            <pc:sldMk cId="775540487" sldId="259"/>
            <ac:spMk id="26" creationId="{3F61C3AF-CA62-4FE6-B246-730839BADDC8}"/>
          </ac:spMkLst>
        </pc:spChg>
        <pc:spChg chg="mod">
          <ac:chgData name="Isabel Cecile Staaden" userId="S::isabel_cecile.staaden@cs.reutlingen-university.de::3c1b1903-24ee-4c58-b486-3184dcc13670" providerId="AD" clId="Web-{CF7CFC37-8DDD-489B-A0AE-68C4A0CA7E56}" dt="2020-06-30T12:24:57.290" v="44" actId="1076"/>
          <ac:spMkLst>
            <pc:docMk/>
            <pc:sldMk cId="775540487" sldId="259"/>
            <ac:spMk id="28" creationId="{2FA41C05-383C-401A-AA2F-49FD496E5304}"/>
          </ac:spMkLst>
        </pc:spChg>
        <pc:grpChg chg="mod">
          <ac:chgData name="Isabel Cecile Staaden" userId="S::isabel_cecile.staaden@cs.reutlingen-university.de::3c1b1903-24ee-4c58-b486-3184dcc13670" providerId="AD" clId="Web-{CF7CFC37-8DDD-489B-A0AE-68C4A0CA7E56}" dt="2020-06-30T12:26:09.681" v="47" actId="14100"/>
          <ac:grpSpMkLst>
            <pc:docMk/>
            <pc:sldMk cId="775540487" sldId="259"/>
            <ac:grpSpMk id="24" creationId="{4793D199-607A-451C-8598-6FEB331F6637}"/>
          </ac:grpSpMkLst>
        </pc:grpChg>
        <pc:picChg chg="add mod modCrop">
          <ac:chgData name="Isabel Cecile Staaden" userId="S::isabel_cecile.staaden@cs.reutlingen-university.de::3c1b1903-24ee-4c58-b486-3184dcc13670" providerId="AD" clId="Web-{CF7CFC37-8DDD-489B-A0AE-68C4A0CA7E56}" dt="2020-06-30T12:20:50.412" v="11" actId="1076"/>
          <ac:picMkLst>
            <pc:docMk/>
            <pc:sldMk cId="775540487" sldId="259"/>
            <ac:picMk id="3" creationId="{9EC2B797-81E4-4B08-8386-FB80939A0EE4}"/>
          </ac:picMkLst>
        </pc:picChg>
        <pc:picChg chg="mod">
          <ac:chgData name="Isabel Cecile Staaden" userId="S::isabel_cecile.staaden@cs.reutlingen-university.de::3c1b1903-24ee-4c58-b486-3184dcc13670" providerId="AD" clId="Web-{CF7CFC37-8DDD-489B-A0AE-68C4A0CA7E56}" dt="2020-06-30T12:19:54.567" v="2" actId="1076"/>
          <ac:picMkLst>
            <pc:docMk/>
            <pc:sldMk cId="775540487" sldId="259"/>
            <ac:picMk id="12" creationId="{3BFBCB42-05E3-474C-BC67-251439F0783B}"/>
          </ac:picMkLst>
        </pc:picChg>
        <pc:picChg chg="add mod">
          <ac:chgData name="Isabel Cecile Staaden" userId="S::isabel_cecile.staaden@cs.reutlingen-university.de::3c1b1903-24ee-4c58-b486-3184dcc13670" providerId="AD" clId="Web-{CF7CFC37-8DDD-489B-A0AE-68C4A0CA7E56}" dt="2020-06-30T12:19:29.207" v="1" actId="1076"/>
          <ac:picMkLst>
            <pc:docMk/>
            <pc:sldMk cId="775540487" sldId="259"/>
            <ac:picMk id="17" creationId="{314E421F-9380-4EAA-A338-BA7C0C1587DD}"/>
          </ac:picMkLst>
        </pc:picChg>
      </pc:sldChg>
      <pc:sldChg chg="add del replId">
        <pc:chgData name="Isabel Cecile Staaden" userId="S::isabel_cecile.staaden@cs.reutlingen-university.de::3c1b1903-24ee-4c58-b486-3184dcc13670" providerId="AD" clId="Web-{CF7CFC37-8DDD-489B-A0AE-68C4A0CA7E56}" dt="2020-06-30T12:20:22.677" v="6"/>
        <pc:sldMkLst>
          <pc:docMk/>
          <pc:sldMk cId="2645506503" sldId="261"/>
        </pc:sldMkLst>
      </pc:sldChg>
    </pc:docChg>
  </pc:docChgLst>
  <pc:docChgLst>
    <pc:chgData name="Isabel Cecile Staaden" userId="S::isabel_cecile.staaden@cs.reutlingen-university.de::3c1b1903-24ee-4c58-b486-3184dcc13670" providerId="AD" clId="Web-{3AC69F03-3969-440E-A12E-441550BBFF3C}"/>
    <pc:docChg chg="modSld">
      <pc:chgData name="Isabel Cecile Staaden" userId="S::isabel_cecile.staaden@cs.reutlingen-university.de::3c1b1903-24ee-4c58-b486-3184dcc13670" providerId="AD" clId="Web-{3AC69F03-3969-440E-A12E-441550BBFF3C}" dt="2020-06-30T13:19:08.888" v="8" actId="14100"/>
      <pc:docMkLst>
        <pc:docMk/>
      </pc:docMkLst>
      <pc:sldChg chg="addSp modSp">
        <pc:chgData name="Isabel Cecile Staaden" userId="S::isabel_cecile.staaden@cs.reutlingen-university.de::3c1b1903-24ee-4c58-b486-3184dcc13670" providerId="AD" clId="Web-{3AC69F03-3969-440E-A12E-441550BBFF3C}" dt="2020-06-30T13:19:08.888" v="8" actId="14100"/>
        <pc:sldMkLst>
          <pc:docMk/>
          <pc:sldMk cId="700343843" sldId="261"/>
        </pc:sldMkLst>
        <pc:picChg chg="add mod">
          <ac:chgData name="Isabel Cecile Staaden" userId="S::isabel_cecile.staaden@cs.reutlingen-university.de::3c1b1903-24ee-4c58-b486-3184dcc13670" providerId="AD" clId="Web-{3AC69F03-3969-440E-A12E-441550BBFF3C}" dt="2020-06-30T13:18:23.904" v="2" actId="14100"/>
          <ac:picMkLst>
            <pc:docMk/>
            <pc:sldMk cId="700343843" sldId="261"/>
            <ac:picMk id="7" creationId="{920D92D6-7D3B-4D8E-8E6C-A1A282425754}"/>
          </ac:picMkLst>
        </pc:picChg>
        <pc:picChg chg="add mod modCrop">
          <ac:chgData name="Isabel Cecile Staaden" userId="S::isabel_cecile.staaden@cs.reutlingen-university.de::3c1b1903-24ee-4c58-b486-3184dcc13670" providerId="AD" clId="Web-{3AC69F03-3969-440E-A12E-441550BBFF3C}" dt="2020-06-30T13:19:08.888" v="8" actId="14100"/>
          <ac:picMkLst>
            <pc:docMk/>
            <pc:sldMk cId="700343843" sldId="261"/>
            <ac:picMk id="9" creationId="{826DB8E4-E830-49E5-BB8E-AD65C13336B1}"/>
          </ac:picMkLst>
        </pc:picChg>
      </pc:sldChg>
    </pc:docChg>
  </pc:docChgLst>
  <pc:docChgLst>
    <pc:chgData name="Isabel Cecile Staaden" userId="S::isabel_cecile.staaden@cs.reutlingen-university.de::3c1b1903-24ee-4c58-b486-3184dcc13670" providerId="AD" clId="Web-{73E331AA-CFF1-474D-AB64-56BC2B67307A}"/>
    <pc:docChg chg="addSld">
      <pc:chgData name="Isabel Cecile Staaden" userId="S::isabel_cecile.staaden@cs.reutlingen-university.de::3c1b1903-24ee-4c58-b486-3184dcc13670" providerId="AD" clId="Web-{73E331AA-CFF1-474D-AB64-56BC2B67307A}" dt="2020-06-30T11:51:52.232" v="0"/>
      <pc:docMkLst>
        <pc:docMk/>
      </pc:docMkLst>
      <pc:sldChg chg="new">
        <pc:chgData name="Isabel Cecile Staaden" userId="S::isabel_cecile.staaden@cs.reutlingen-university.de::3c1b1903-24ee-4c58-b486-3184dcc13670" providerId="AD" clId="Web-{73E331AA-CFF1-474D-AB64-56BC2B67307A}" dt="2020-06-30T11:51:52.232" v="0"/>
        <pc:sldMkLst>
          <pc:docMk/>
          <pc:sldMk cId="1433843910" sldId="258"/>
        </pc:sldMkLst>
      </pc:sldChg>
    </pc:docChg>
  </pc:docChgLst>
  <pc:docChgLst>
    <pc:chgData name="Izzet Can Sahpaz" userId="S::izzet_can.sahpaz@cs.reutlingen-university.de::e9f1c557-1bf0-478a-b564-976aded079b8" providerId="AD" clId="Web-{AC854B3B-2B20-4C70-A757-F549E3C97442}"/>
    <pc:docChg chg="addSld delSld modSld sldOrd">
      <pc:chgData name="Izzet Can Sahpaz" userId="S::izzet_can.sahpaz@cs.reutlingen-university.de::e9f1c557-1bf0-478a-b564-976aded079b8" providerId="AD" clId="Web-{AC854B3B-2B20-4C70-A757-F549E3C97442}" dt="2020-06-30T12:53:26.138" v="1302" actId="1076"/>
      <pc:docMkLst>
        <pc:docMk/>
      </pc:docMkLst>
      <pc:sldChg chg="modSp">
        <pc:chgData name="Izzet Can Sahpaz" userId="S::izzet_can.sahpaz@cs.reutlingen-university.de::e9f1c557-1bf0-478a-b564-976aded079b8" providerId="AD" clId="Web-{AC854B3B-2B20-4C70-A757-F549E3C97442}" dt="2020-06-30T12:47:05.851" v="1285" actId="1076"/>
        <pc:sldMkLst>
          <pc:docMk/>
          <pc:sldMk cId="2561161488" sldId="256"/>
        </pc:sldMkLst>
        <pc:spChg chg="mod">
          <ac:chgData name="Izzet Can Sahpaz" userId="S::izzet_can.sahpaz@cs.reutlingen-university.de::e9f1c557-1bf0-478a-b564-976aded079b8" providerId="AD" clId="Web-{AC854B3B-2B20-4C70-A757-F549E3C97442}" dt="2020-06-30T12:45:34.990" v="1233" actId="1076"/>
          <ac:spMkLst>
            <pc:docMk/>
            <pc:sldMk cId="2561161488" sldId="256"/>
            <ac:spMk id="2" creationId="{678310F3-2E25-406D-8666-5AB853C5C003}"/>
          </ac:spMkLst>
        </pc:spChg>
        <pc:spChg chg="mod">
          <ac:chgData name="Izzet Can Sahpaz" userId="S::izzet_can.sahpaz@cs.reutlingen-university.de::e9f1c557-1bf0-478a-b564-976aded079b8" providerId="AD" clId="Web-{AC854B3B-2B20-4C70-A757-F549E3C97442}" dt="2020-06-30T12:45:50.490" v="1246" actId="1076"/>
          <ac:spMkLst>
            <pc:docMk/>
            <pc:sldMk cId="2561161488" sldId="256"/>
            <ac:spMk id="13" creationId="{E98FE4E2-4CD6-4EA4-A3BA-E95A4413DB8C}"/>
          </ac:spMkLst>
        </pc:spChg>
        <pc:spChg chg="mod">
          <ac:chgData name="Izzet Can Sahpaz" userId="S::izzet_can.sahpaz@cs.reutlingen-university.de::e9f1c557-1bf0-478a-b564-976aded079b8" providerId="AD" clId="Web-{AC854B3B-2B20-4C70-A757-F549E3C97442}" dt="2020-06-30T12:45:50.506" v="1247" actId="1076"/>
          <ac:spMkLst>
            <pc:docMk/>
            <pc:sldMk cId="2561161488" sldId="256"/>
            <ac:spMk id="14" creationId="{D2EF2F5D-B9E3-475F-8D74-F2649A24F909}"/>
          </ac:spMkLst>
        </pc:spChg>
        <pc:spChg chg="mod">
          <ac:chgData name="Izzet Can Sahpaz" userId="S::izzet_can.sahpaz@cs.reutlingen-university.de::e9f1c557-1bf0-478a-b564-976aded079b8" providerId="AD" clId="Web-{AC854B3B-2B20-4C70-A757-F549E3C97442}" dt="2020-06-30T12:45:50.506" v="1248" actId="1076"/>
          <ac:spMkLst>
            <pc:docMk/>
            <pc:sldMk cId="2561161488" sldId="256"/>
            <ac:spMk id="15" creationId="{7949AD68-8E85-4FE1-8E5C-678231FB077F}"/>
          </ac:spMkLst>
        </pc:spChg>
        <pc:spChg chg="mod">
          <ac:chgData name="Izzet Can Sahpaz" userId="S::izzet_can.sahpaz@cs.reutlingen-university.de::e9f1c557-1bf0-478a-b564-976aded079b8" providerId="AD" clId="Web-{AC854B3B-2B20-4C70-A757-F549E3C97442}" dt="2020-06-30T12:45:50.506" v="1249" actId="1076"/>
          <ac:spMkLst>
            <pc:docMk/>
            <pc:sldMk cId="2561161488" sldId="256"/>
            <ac:spMk id="16" creationId="{55C41403-A46C-46FC-8194-0C15E4AC654E}"/>
          </ac:spMkLst>
        </pc:spChg>
        <pc:spChg chg="mod">
          <ac:chgData name="Izzet Can Sahpaz" userId="S::izzet_can.sahpaz@cs.reutlingen-university.de::e9f1c557-1bf0-478a-b564-976aded079b8" providerId="AD" clId="Web-{AC854B3B-2B20-4C70-A757-F549E3C97442}" dt="2020-06-30T12:47:05.851" v="1285" actId="1076"/>
          <ac:spMkLst>
            <pc:docMk/>
            <pc:sldMk cId="2561161488" sldId="256"/>
            <ac:spMk id="18" creationId="{A2774D39-2C6A-4245-B788-64D05B6B4C90}"/>
          </ac:spMkLst>
        </pc:spChg>
        <pc:picChg chg="mod">
          <ac:chgData name="Izzet Can Sahpaz" userId="S::izzet_can.sahpaz@cs.reutlingen-university.de::e9f1c557-1bf0-478a-b564-976aded079b8" providerId="AD" clId="Web-{AC854B3B-2B20-4C70-A757-F549E3C97442}" dt="2020-06-30T12:45:50.443" v="1242" actId="1076"/>
          <ac:picMkLst>
            <pc:docMk/>
            <pc:sldMk cId="2561161488" sldId="256"/>
            <ac:picMk id="6" creationId="{CC1D36A6-0315-445C-8FDC-5FE35BF47A3B}"/>
          </ac:picMkLst>
        </pc:picChg>
        <pc:picChg chg="mod">
          <ac:chgData name="Izzet Can Sahpaz" userId="S::izzet_can.sahpaz@cs.reutlingen-university.de::e9f1c557-1bf0-478a-b564-976aded079b8" providerId="AD" clId="Web-{AC854B3B-2B20-4C70-A757-F549E3C97442}" dt="2020-06-30T12:45:50.459" v="1243" actId="1076"/>
          <ac:picMkLst>
            <pc:docMk/>
            <pc:sldMk cId="2561161488" sldId="256"/>
            <ac:picMk id="8" creationId="{39916720-D75F-444F-8012-E59B0D05F227}"/>
          </ac:picMkLst>
        </pc:picChg>
        <pc:picChg chg="mod">
          <ac:chgData name="Izzet Can Sahpaz" userId="S::izzet_can.sahpaz@cs.reutlingen-university.de::e9f1c557-1bf0-478a-b564-976aded079b8" providerId="AD" clId="Web-{AC854B3B-2B20-4C70-A757-F549E3C97442}" dt="2020-06-30T12:45:50.474" v="1244" actId="1076"/>
          <ac:picMkLst>
            <pc:docMk/>
            <pc:sldMk cId="2561161488" sldId="256"/>
            <ac:picMk id="10" creationId="{61E9E4C6-2868-4BFD-89BE-CA2416EB6543}"/>
          </ac:picMkLst>
        </pc:picChg>
        <pc:picChg chg="mod">
          <ac:chgData name="Izzet Can Sahpaz" userId="S::izzet_can.sahpaz@cs.reutlingen-university.de::e9f1c557-1bf0-478a-b564-976aded079b8" providerId="AD" clId="Web-{AC854B3B-2B20-4C70-A757-F549E3C97442}" dt="2020-06-30T12:45:50.490" v="1245" actId="1076"/>
          <ac:picMkLst>
            <pc:docMk/>
            <pc:sldMk cId="2561161488" sldId="256"/>
            <ac:picMk id="12" creationId="{8BC9D966-DAEB-4871-A874-4090C72BCEE8}"/>
          </ac:picMkLst>
        </pc:picChg>
      </pc:sldChg>
      <pc:sldChg chg="addSp delSp modSp mod modClrScheme chgLayout">
        <pc:chgData name="Izzet Can Sahpaz" userId="S::izzet_can.sahpaz@cs.reutlingen-university.de::e9f1c557-1bf0-478a-b564-976aded079b8" providerId="AD" clId="Web-{AC854B3B-2B20-4C70-A757-F549E3C97442}" dt="2020-06-30T12:40:15.844" v="1134" actId="1076"/>
        <pc:sldMkLst>
          <pc:docMk/>
          <pc:sldMk cId="3911582079" sldId="257"/>
        </pc:sldMkLst>
        <pc:spChg chg="mod ord">
          <ac:chgData name="Izzet Can Sahpaz" userId="S::izzet_can.sahpaz@cs.reutlingen-university.de::e9f1c557-1bf0-478a-b564-976aded079b8" providerId="AD" clId="Web-{AC854B3B-2B20-4C70-A757-F549E3C97442}" dt="2020-06-30T12:36:24.731" v="579"/>
          <ac:spMkLst>
            <pc:docMk/>
            <pc:sldMk cId="3911582079" sldId="257"/>
            <ac:spMk id="2" creationId="{6417FA33-2CEB-4BBF-8631-BCD5C900B44A}"/>
          </ac:spMkLst>
        </pc:spChg>
        <pc:spChg chg="add del">
          <ac:chgData name="Izzet Can Sahpaz" userId="S::izzet_can.sahpaz@cs.reutlingen-university.de::e9f1c557-1bf0-478a-b564-976aded079b8" providerId="AD" clId="Web-{AC854B3B-2B20-4C70-A757-F549E3C97442}" dt="2020-06-30T12:29:42.022" v="513"/>
          <ac:spMkLst>
            <pc:docMk/>
            <pc:sldMk cId="3911582079" sldId="257"/>
            <ac:spMk id="4" creationId="{E8B523BC-4D5D-4DB5-85D8-16F6B7ADC7AF}"/>
          </ac:spMkLst>
        </pc:spChg>
        <pc:spChg chg="del">
          <ac:chgData name="Izzet Can Sahpaz" userId="S::izzet_can.sahpaz@cs.reutlingen-university.de::e9f1c557-1bf0-478a-b564-976aded079b8" providerId="AD" clId="Web-{AC854B3B-2B20-4C70-A757-F549E3C97442}" dt="2020-06-30T12:29:55.678" v="514"/>
          <ac:spMkLst>
            <pc:docMk/>
            <pc:sldMk cId="3911582079" sldId="257"/>
            <ac:spMk id="8" creationId="{194F5B89-D912-4C43-9238-144709DFA6EE}"/>
          </ac:spMkLst>
        </pc:spChg>
        <pc:spChg chg="add del mod">
          <ac:chgData name="Izzet Can Sahpaz" userId="S::izzet_can.sahpaz@cs.reutlingen-university.de::e9f1c557-1bf0-478a-b564-976aded079b8" providerId="AD" clId="Web-{AC854B3B-2B20-4C70-A757-F549E3C97442}" dt="2020-06-30T12:35:38.684" v="572"/>
          <ac:spMkLst>
            <pc:docMk/>
            <pc:sldMk cId="3911582079" sldId="257"/>
            <ac:spMk id="15" creationId="{6AF1423F-52AD-47E4-B718-C242AABBC63E}"/>
          </ac:spMkLst>
        </pc:spChg>
        <pc:spChg chg="add mod ord">
          <ac:chgData name="Izzet Can Sahpaz" userId="S::izzet_can.sahpaz@cs.reutlingen-university.de::e9f1c557-1bf0-478a-b564-976aded079b8" providerId="AD" clId="Web-{AC854B3B-2B20-4C70-A757-F549E3C97442}" dt="2020-06-30T12:40:07.454" v="1131" actId="20577"/>
          <ac:spMkLst>
            <pc:docMk/>
            <pc:sldMk cId="3911582079" sldId="257"/>
            <ac:spMk id="17" creationId="{A019944B-AC44-420B-BD43-506EE76C8EA0}"/>
          </ac:spMkLst>
        </pc:spChg>
        <pc:picChg chg="add del mod ord">
          <ac:chgData name="Izzet Can Sahpaz" userId="S::izzet_can.sahpaz@cs.reutlingen-university.de::e9f1c557-1bf0-478a-b564-976aded079b8" providerId="AD" clId="Web-{AC854B3B-2B20-4C70-A757-F549E3C97442}" dt="2020-06-30T12:35:37.246" v="571"/>
          <ac:picMkLst>
            <pc:docMk/>
            <pc:sldMk cId="3911582079" sldId="257"/>
            <ac:picMk id="12" creationId="{C0283E0B-EC3D-4AF1-8079-956E60C6C208}"/>
          </ac:picMkLst>
        </pc:picChg>
        <pc:picChg chg="add del mod">
          <ac:chgData name="Izzet Can Sahpaz" userId="S::izzet_can.sahpaz@cs.reutlingen-university.de::e9f1c557-1bf0-478a-b564-976aded079b8" providerId="AD" clId="Web-{AC854B3B-2B20-4C70-A757-F549E3C97442}" dt="2020-06-30T12:31:00.867" v="523"/>
          <ac:picMkLst>
            <pc:docMk/>
            <pc:sldMk cId="3911582079" sldId="257"/>
            <ac:picMk id="13" creationId="{5CBCA8C8-BE21-46FB-81FE-DC9B6DBD0324}"/>
          </ac:picMkLst>
        </pc:picChg>
        <pc:picChg chg="add mod ord">
          <ac:chgData name="Izzet Can Sahpaz" userId="S::izzet_can.sahpaz@cs.reutlingen-university.de::e9f1c557-1bf0-478a-b564-976aded079b8" providerId="AD" clId="Web-{AC854B3B-2B20-4C70-A757-F549E3C97442}" dt="2020-06-30T12:40:15.844" v="1134" actId="1076"/>
          <ac:picMkLst>
            <pc:docMk/>
            <pc:sldMk cId="3911582079" sldId="257"/>
            <ac:picMk id="16" creationId="{DDAFF7CC-9D76-4B3D-AF3F-EDC05819FAB5}"/>
          </ac:picMkLst>
        </pc:picChg>
      </pc:sldChg>
      <pc:sldChg chg="modSp">
        <pc:chgData name="Izzet Can Sahpaz" userId="S::izzet_can.sahpaz@cs.reutlingen-university.de::e9f1c557-1bf0-478a-b564-976aded079b8" providerId="AD" clId="Web-{AC854B3B-2B20-4C70-A757-F549E3C97442}" dt="2020-06-30T12:41:01.142" v="1223" actId="20577"/>
        <pc:sldMkLst>
          <pc:docMk/>
          <pc:sldMk cId="1433843910" sldId="258"/>
        </pc:sldMkLst>
        <pc:spChg chg="mod">
          <ac:chgData name="Izzet Can Sahpaz" userId="S::izzet_can.sahpaz@cs.reutlingen-university.de::e9f1c557-1bf0-478a-b564-976aded079b8" providerId="AD" clId="Web-{AC854B3B-2B20-4C70-A757-F549E3C97442}" dt="2020-06-30T12:41:01.142" v="1223" actId="20577"/>
          <ac:spMkLst>
            <pc:docMk/>
            <pc:sldMk cId="1433843910" sldId="258"/>
            <ac:spMk id="2" creationId="{A9691F4B-2172-4A29-944D-521DEAB2AF47}"/>
          </ac:spMkLst>
        </pc:spChg>
      </pc:sldChg>
      <pc:sldChg chg="addSp delSp modSp new ord">
        <pc:chgData name="Izzet Can Sahpaz" userId="S::izzet_can.sahpaz@cs.reutlingen-university.de::e9f1c557-1bf0-478a-b564-976aded079b8" providerId="AD" clId="Web-{AC854B3B-2B20-4C70-A757-F549E3C97442}" dt="2020-06-30T12:40:35.407" v="1171" actId="20577"/>
        <pc:sldMkLst>
          <pc:docMk/>
          <pc:sldMk cId="775540487" sldId="259"/>
        </pc:sldMkLst>
        <pc:spChg chg="mod">
          <ac:chgData name="Izzet Can Sahpaz" userId="S::izzet_can.sahpaz@cs.reutlingen-university.de::e9f1c557-1bf0-478a-b564-976aded079b8" providerId="AD" clId="Web-{AC854B3B-2B20-4C70-A757-F549E3C97442}" dt="2020-06-30T12:40:35.407" v="1171" actId="20577"/>
          <ac:spMkLst>
            <pc:docMk/>
            <pc:sldMk cId="775540487" sldId="259"/>
            <ac:spMk id="2" creationId="{5E86B000-C33C-4746-A263-BC3434CCD4B6}"/>
          </ac:spMkLst>
        </pc:spChg>
        <pc:spChg chg="mod">
          <ac:chgData name="Izzet Can Sahpaz" userId="S::izzet_can.sahpaz@cs.reutlingen-university.de::e9f1c557-1bf0-478a-b564-976aded079b8" providerId="AD" clId="Web-{AC854B3B-2B20-4C70-A757-F549E3C97442}" dt="2020-06-30T12:26:54.551" v="444" actId="20577"/>
          <ac:spMkLst>
            <pc:docMk/>
            <pc:sldMk cId="775540487" sldId="259"/>
            <ac:spMk id="5" creationId="{38DC3B1E-8BD6-4EA1-9316-0A026133E459}"/>
          </ac:spMkLst>
        </pc:spChg>
        <pc:spChg chg="mod">
          <ac:chgData name="Izzet Can Sahpaz" userId="S::izzet_can.sahpaz@cs.reutlingen-university.de::e9f1c557-1bf0-478a-b564-976aded079b8" providerId="AD" clId="Web-{AC854B3B-2B20-4C70-A757-F549E3C97442}" dt="2020-06-30T12:26:18.456" v="436" actId="1076"/>
          <ac:spMkLst>
            <pc:docMk/>
            <pc:sldMk cId="775540487" sldId="259"/>
            <ac:spMk id="6" creationId="{D4C47D7A-96C6-49C9-BA48-4EAB71EB30F1}"/>
          </ac:spMkLst>
        </pc:spChg>
        <pc:spChg chg="add mod">
          <ac:chgData name="Izzet Can Sahpaz" userId="S::izzet_can.sahpaz@cs.reutlingen-university.de::e9f1c557-1bf0-478a-b564-976aded079b8" providerId="AD" clId="Web-{AC854B3B-2B20-4C70-A757-F549E3C97442}" dt="2020-06-30T12:23:12.078" v="190" actId="1076"/>
          <ac:spMkLst>
            <pc:docMk/>
            <pc:sldMk cId="775540487" sldId="259"/>
            <ac:spMk id="13" creationId="{6D7D499A-B27B-441D-91B4-FF777CA53299}"/>
          </ac:spMkLst>
        </pc:spChg>
        <pc:spChg chg="add del mod">
          <ac:chgData name="Izzet Can Sahpaz" userId="S::izzet_can.sahpaz@cs.reutlingen-university.de::e9f1c557-1bf0-478a-b564-976aded079b8" providerId="AD" clId="Web-{AC854B3B-2B20-4C70-A757-F549E3C97442}" dt="2020-06-30T12:27:43.583" v="477"/>
          <ac:spMkLst>
            <pc:docMk/>
            <pc:sldMk cId="775540487" sldId="259"/>
            <ac:spMk id="15" creationId="{2B421FD4-6FBD-4E57-BE5E-DB73CF49F291}"/>
          </ac:spMkLst>
        </pc:spChg>
        <pc:spChg chg="add mod">
          <ac:chgData name="Izzet Can Sahpaz" userId="S::izzet_can.sahpaz@cs.reutlingen-university.de::e9f1c557-1bf0-478a-b564-976aded079b8" providerId="AD" clId="Web-{AC854B3B-2B20-4C70-A757-F549E3C97442}" dt="2020-06-30T12:27:23.707" v="468" actId="20577"/>
          <ac:spMkLst>
            <pc:docMk/>
            <pc:sldMk cId="775540487" sldId="259"/>
            <ac:spMk id="28" creationId="{2FA41C05-383C-401A-AA2F-49FD496E5304}"/>
          </ac:spMkLst>
        </pc:spChg>
        <pc:spChg chg="add mod">
          <ac:chgData name="Izzet Can Sahpaz" userId="S::izzet_can.sahpaz@cs.reutlingen-university.de::e9f1c557-1bf0-478a-b564-976aded079b8" providerId="AD" clId="Web-{AC854B3B-2B20-4C70-A757-F549E3C97442}" dt="2020-06-30T12:24:53.674" v="352" actId="1076"/>
          <ac:spMkLst>
            <pc:docMk/>
            <pc:sldMk cId="775540487" sldId="259"/>
            <ac:spMk id="29" creationId="{4850D476-18FF-449C-8866-673F246671B2}"/>
          </ac:spMkLst>
        </pc:spChg>
        <pc:spChg chg="add mod">
          <ac:chgData name="Izzet Can Sahpaz" userId="S::izzet_can.sahpaz@cs.reutlingen-university.de::e9f1c557-1bf0-478a-b564-976aded079b8" providerId="AD" clId="Web-{AC854B3B-2B20-4C70-A757-F549E3C97442}" dt="2020-06-30T12:25:13.080" v="418" actId="20577"/>
          <ac:spMkLst>
            <pc:docMk/>
            <pc:sldMk cId="775540487" sldId="259"/>
            <ac:spMk id="30" creationId="{52C5201E-AAF1-4191-B500-79674FDF63EB}"/>
          </ac:spMkLst>
        </pc:spChg>
        <pc:grpChg chg="mod">
          <ac:chgData name="Izzet Can Sahpaz" userId="S::izzet_can.sahpaz@cs.reutlingen-university.de::e9f1c557-1bf0-478a-b564-976aded079b8" providerId="AD" clId="Web-{AC854B3B-2B20-4C70-A757-F549E3C97442}" dt="2020-06-30T12:27:47.254" v="478" actId="1076"/>
          <ac:grpSpMkLst>
            <pc:docMk/>
            <pc:sldMk cId="775540487" sldId="259"/>
            <ac:grpSpMk id="24" creationId="{4793D199-607A-451C-8598-6FEB331F6637}"/>
          </ac:grpSpMkLst>
        </pc:grpChg>
        <pc:picChg chg="add mod">
          <ac:chgData name="Izzet Can Sahpaz" userId="S::izzet_can.sahpaz@cs.reutlingen-university.de::e9f1c557-1bf0-478a-b564-976aded079b8" providerId="AD" clId="Web-{AC854B3B-2B20-4C70-A757-F549E3C97442}" dt="2020-06-30T12:22:48.422" v="171" actId="1076"/>
          <ac:picMkLst>
            <pc:docMk/>
            <pc:sldMk cId="775540487" sldId="259"/>
            <ac:picMk id="11" creationId="{13FDFDC1-0813-4F26-A9FC-68E37186EC73}"/>
          </ac:picMkLst>
        </pc:picChg>
        <pc:cxnChg chg="del mod">
          <ac:chgData name="Izzet Can Sahpaz" userId="S::izzet_can.sahpaz@cs.reutlingen-university.de::e9f1c557-1bf0-478a-b564-976aded079b8" providerId="AD" clId="Web-{AC854B3B-2B20-4C70-A757-F549E3C97442}" dt="2020-06-30T12:26:42.957" v="438"/>
          <ac:cxnSpMkLst>
            <pc:docMk/>
            <pc:sldMk cId="775540487" sldId="259"/>
            <ac:cxnSpMk id="14" creationId="{5EFB51AE-EF81-46A1-A9BE-01A71D843FB3}"/>
          </ac:cxnSpMkLst>
        </pc:cxnChg>
        <pc:cxnChg chg="del">
          <ac:chgData name="Izzet Can Sahpaz" userId="S::izzet_can.sahpaz@cs.reutlingen-university.de::e9f1c557-1bf0-478a-b564-976aded079b8" providerId="AD" clId="Web-{AC854B3B-2B20-4C70-A757-F549E3C97442}" dt="2020-06-30T12:26:46.925" v="439"/>
          <ac:cxnSpMkLst>
            <pc:docMk/>
            <pc:sldMk cId="775540487" sldId="259"/>
            <ac:cxnSpMk id="19" creationId="{83AB7A48-3F50-4EFC-9C13-FFC68FA9585E}"/>
          </ac:cxnSpMkLst>
        </pc:cxnChg>
      </pc:sldChg>
      <pc:sldChg chg="addSp delSp modSp">
        <pc:chgData name="Izzet Can Sahpaz" userId="S::izzet_can.sahpaz@cs.reutlingen-university.de::e9f1c557-1bf0-478a-b564-976aded079b8" providerId="AD" clId="Web-{AC854B3B-2B20-4C70-A757-F549E3C97442}" dt="2020-06-30T12:53:26.138" v="1302" actId="1076"/>
        <pc:sldMkLst>
          <pc:docMk/>
          <pc:sldMk cId="427399059" sldId="260"/>
        </pc:sldMkLst>
        <pc:spChg chg="mod">
          <ac:chgData name="Izzet Can Sahpaz" userId="S::izzet_can.sahpaz@cs.reutlingen-university.de::e9f1c557-1bf0-478a-b564-976aded079b8" providerId="AD" clId="Web-{AC854B3B-2B20-4C70-A757-F549E3C97442}" dt="2020-06-30T12:52:32.996" v="1296" actId="1076"/>
          <ac:spMkLst>
            <pc:docMk/>
            <pc:sldMk cId="427399059" sldId="260"/>
            <ac:spMk id="2" creationId="{8BD69CE1-D1AE-4040-A641-474472F6FB95}"/>
          </ac:spMkLst>
        </pc:spChg>
        <pc:picChg chg="add del mod">
          <ac:chgData name="Izzet Can Sahpaz" userId="S::izzet_can.sahpaz@cs.reutlingen-university.de::e9f1c557-1bf0-478a-b564-976aded079b8" providerId="AD" clId="Web-{AC854B3B-2B20-4C70-A757-F549E3C97442}" dt="2020-06-30T12:53:16.778" v="1297"/>
          <ac:picMkLst>
            <pc:docMk/>
            <pc:sldMk cId="427399059" sldId="260"/>
            <ac:picMk id="7" creationId="{9BE68906-FD4D-4B93-8F96-EF3712DD3A5A}"/>
          </ac:picMkLst>
        </pc:picChg>
        <pc:picChg chg="add mod">
          <ac:chgData name="Izzet Can Sahpaz" userId="S::izzet_can.sahpaz@cs.reutlingen-university.de::e9f1c557-1bf0-478a-b564-976aded079b8" providerId="AD" clId="Web-{AC854B3B-2B20-4C70-A757-F549E3C97442}" dt="2020-06-30T12:53:26.138" v="1302" actId="1076"/>
          <ac:picMkLst>
            <pc:docMk/>
            <pc:sldMk cId="427399059" sldId="260"/>
            <ac:picMk id="9" creationId="{FCE52048-A0EB-4128-9D6D-A4F103E1FF71}"/>
          </ac:picMkLst>
        </pc:picChg>
      </pc:sldChg>
      <pc:sldChg chg="del">
        <pc:chgData name="Izzet Can Sahpaz" userId="S::izzet_can.sahpaz@cs.reutlingen-university.de::e9f1c557-1bf0-478a-b564-976aded079b8" providerId="AD" clId="Web-{AC854B3B-2B20-4C70-A757-F549E3C97442}" dt="2020-06-30T12:28:09.208" v="479"/>
        <pc:sldMkLst>
          <pc:docMk/>
          <pc:sldMk cId="3502996044" sldId="260"/>
        </pc:sldMkLst>
      </pc:sldChg>
      <pc:sldChg chg="add del replId">
        <pc:chgData name="Izzet Can Sahpaz" userId="S::izzet_can.sahpaz@cs.reutlingen-university.de::e9f1c557-1bf0-478a-b564-976aded079b8" providerId="AD" clId="Web-{AC854B3B-2B20-4C70-A757-F549E3C97442}" dt="2020-06-30T12:23:23.844" v="192"/>
        <pc:sldMkLst>
          <pc:docMk/>
          <pc:sldMk cId="469834891" sldId="261"/>
        </pc:sldMkLst>
      </pc:sldChg>
      <pc:sldChg chg="add del replId">
        <pc:chgData name="Izzet Can Sahpaz" userId="S::izzet_can.sahpaz@cs.reutlingen-university.de::e9f1c557-1bf0-478a-b564-976aded079b8" providerId="AD" clId="Web-{AC854B3B-2B20-4C70-A757-F549E3C97442}" dt="2020-06-30T12:25:47.987" v="423"/>
        <pc:sldMkLst>
          <pc:docMk/>
          <pc:sldMk cId="2782377433" sldId="261"/>
        </pc:sldMkLst>
      </pc:sldChg>
    </pc:docChg>
  </pc:docChgLst>
  <pc:docChgLst>
    <pc:chgData name="Izzet Can Sahpaz" userId="S::izzet_can.sahpaz@cs.reutlingen-university.de::e9f1c557-1bf0-478a-b564-976aded079b8" providerId="AD" clId="Web-{4DDD6C6A-5C9F-4FC6-955B-5DA7B0AE54B1}"/>
    <pc:docChg chg="modSld">
      <pc:chgData name="Izzet Can Sahpaz" userId="S::izzet_can.sahpaz@cs.reutlingen-university.de::e9f1c557-1bf0-478a-b564-976aded079b8" providerId="AD" clId="Web-{4DDD6C6A-5C9F-4FC6-955B-5DA7B0AE54B1}" dt="2020-06-30T13:35:31.629" v="180" actId="20577"/>
      <pc:docMkLst>
        <pc:docMk/>
      </pc:docMkLst>
      <pc:sldChg chg="modSp">
        <pc:chgData name="Izzet Can Sahpaz" userId="S::izzet_can.sahpaz@cs.reutlingen-university.de::e9f1c557-1bf0-478a-b564-976aded079b8" providerId="AD" clId="Web-{4DDD6C6A-5C9F-4FC6-955B-5DA7B0AE54B1}" dt="2020-06-30T13:31:07.583" v="169" actId="20577"/>
        <pc:sldMkLst>
          <pc:docMk/>
          <pc:sldMk cId="2561161488" sldId="256"/>
        </pc:sldMkLst>
        <pc:spChg chg="mod">
          <ac:chgData name="Izzet Can Sahpaz" userId="S::izzet_can.sahpaz@cs.reutlingen-university.de::e9f1c557-1bf0-478a-b564-976aded079b8" providerId="AD" clId="Web-{4DDD6C6A-5C9F-4FC6-955B-5DA7B0AE54B1}" dt="2020-06-30T13:31:07.583" v="169" actId="20577"/>
          <ac:spMkLst>
            <pc:docMk/>
            <pc:sldMk cId="2561161488" sldId="256"/>
            <ac:spMk id="18" creationId="{A2774D39-2C6A-4245-B788-64D05B6B4C90}"/>
          </ac:spMkLst>
        </pc:spChg>
      </pc:sldChg>
      <pc:sldChg chg="modSp">
        <pc:chgData name="Izzet Can Sahpaz" userId="S::izzet_can.sahpaz@cs.reutlingen-university.de::e9f1c557-1bf0-478a-b564-976aded079b8" providerId="AD" clId="Web-{4DDD6C6A-5C9F-4FC6-955B-5DA7B0AE54B1}" dt="2020-06-30T13:35:29.426" v="178" actId="20577"/>
        <pc:sldMkLst>
          <pc:docMk/>
          <pc:sldMk cId="775540487" sldId="259"/>
        </pc:sldMkLst>
        <pc:spChg chg="mod">
          <ac:chgData name="Izzet Can Sahpaz" userId="S::izzet_can.sahpaz@cs.reutlingen-university.de::e9f1c557-1bf0-478a-b564-976aded079b8" providerId="AD" clId="Web-{4DDD6C6A-5C9F-4FC6-955B-5DA7B0AE54B1}" dt="2020-06-30T13:35:29.426" v="178" actId="20577"/>
          <ac:spMkLst>
            <pc:docMk/>
            <pc:sldMk cId="775540487" sldId="259"/>
            <ac:spMk id="30" creationId="{52C5201E-AAF1-4191-B500-79674FDF63EB}"/>
          </ac:spMkLst>
        </pc:spChg>
      </pc:sldChg>
      <pc:sldChg chg="addSp delSp modSp mod modClrScheme chgLayout">
        <pc:chgData name="Izzet Can Sahpaz" userId="S::izzet_can.sahpaz@cs.reutlingen-university.de::e9f1c557-1bf0-478a-b564-976aded079b8" providerId="AD" clId="Web-{4DDD6C6A-5C9F-4FC6-955B-5DA7B0AE54B1}" dt="2020-06-30T13:32:46.161" v="177" actId="1076"/>
        <pc:sldMkLst>
          <pc:docMk/>
          <pc:sldMk cId="700343843" sldId="261"/>
        </pc:sldMkLst>
        <pc:spChg chg="mod ord">
          <ac:chgData name="Izzet Can Sahpaz" userId="S::izzet_can.sahpaz@cs.reutlingen-university.de::e9f1c557-1bf0-478a-b564-976aded079b8" providerId="AD" clId="Web-{4DDD6C6A-5C9F-4FC6-955B-5DA7B0AE54B1}" dt="2020-06-30T13:24:40.333" v="0"/>
          <ac:spMkLst>
            <pc:docMk/>
            <pc:sldMk cId="700343843" sldId="261"/>
            <ac:spMk id="2" creationId="{3D487692-8B19-4F84-BB3E-24B467C9AF65}"/>
          </ac:spMkLst>
        </pc:spChg>
        <pc:spChg chg="mod ord">
          <ac:chgData name="Izzet Can Sahpaz" userId="S::izzet_can.sahpaz@cs.reutlingen-university.de::e9f1c557-1bf0-478a-b564-976aded079b8" providerId="AD" clId="Web-{4DDD6C6A-5C9F-4FC6-955B-5DA7B0AE54B1}" dt="2020-06-30T13:24:40.333" v="0"/>
          <ac:spMkLst>
            <pc:docMk/>
            <pc:sldMk cId="700343843" sldId="261"/>
            <ac:spMk id="3" creationId="{E3CD4BFB-D9DE-49BB-8273-12BA45782C04}"/>
          </ac:spMkLst>
        </pc:spChg>
        <pc:spChg chg="mod ord">
          <ac:chgData name="Izzet Can Sahpaz" userId="S::izzet_can.sahpaz@cs.reutlingen-university.de::e9f1c557-1bf0-478a-b564-976aded079b8" providerId="AD" clId="Web-{4DDD6C6A-5C9F-4FC6-955B-5DA7B0AE54B1}" dt="2020-06-30T13:24:40.333" v="0"/>
          <ac:spMkLst>
            <pc:docMk/>
            <pc:sldMk cId="700343843" sldId="261"/>
            <ac:spMk id="4" creationId="{8193D9F1-1216-4B9D-80F6-30F594BE0FFB}"/>
          </ac:spMkLst>
        </pc:spChg>
        <pc:spChg chg="mod ord">
          <ac:chgData name="Izzet Can Sahpaz" userId="S::izzet_can.sahpaz@cs.reutlingen-university.de::e9f1c557-1bf0-478a-b564-976aded079b8" providerId="AD" clId="Web-{4DDD6C6A-5C9F-4FC6-955B-5DA7B0AE54B1}" dt="2020-06-30T13:24:40.333" v="0"/>
          <ac:spMkLst>
            <pc:docMk/>
            <pc:sldMk cId="700343843" sldId="261"/>
            <ac:spMk id="5" creationId="{F4EE3A13-D6C5-4304-9931-59FBD9F10F18}"/>
          </ac:spMkLst>
        </pc:spChg>
        <pc:spChg chg="add del mod ord">
          <ac:chgData name="Izzet Can Sahpaz" userId="S::izzet_can.sahpaz@cs.reutlingen-university.de::e9f1c557-1bf0-478a-b564-976aded079b8" providerId="AD" clId="Web-{4DDD6C6A-5C9F-4FC6-955B-5DA7B0AE54B1}" dt="2020-06-30T13:26:22.646" v="21"/>
          <ac:spMkLst>
            <pc:docMk/>
            <pc:sldMk cId="700343843" sldId="261"/>
            <ac:spMk id="14" creationId="{F29FFBAC-0C36-4F74-ABB0-6CC57FE0CE4C}"/>
          </ac:spMkLst>
        </pc:spChg>
        <pc:spChg chg="add mod ord">
          <ac:chgData name="Izzet Can Sahpaz" userId="S::izzet_can.sahpaz@cs.reutlingen-university.de::e9f1c557-1bf0-478a-b564-976aded079b8" providerId="AD" clId="Web-{4DDD6C6A-5C9F-4FC6-955B-5DA7B0AE54B1}" dt="2020-06-30T13:32:46.161" v="177" actId="1076"/>
          <ac:spMkLst>
            <pc:docMk/>
            <pc:sldMk cId="700343843" sldId="261"/>
            <ac:spMk id="15" creationId="{6D93A9A8-62DF-4499-974C-0336C6773788}"/>
          </ac:spMkLst>
        </pc:spChg>
        <pc:spChg chg="mod">
          <ac:chgData name="Izzet Can Sahpaz" userId="S::izzet_can.sahpaz@cs.reutlingen-university.de::e9f1c557-1bf0-478a-b564-976aded079b8" providerId="AD" clId="Web-{4DDD6C6A-5C9F-4FC6-955B-5DA7B0AE54B1}" dt="2020-06-30T13:30:01.067" v="150" actId="1076"/>
          <ac:spMkLst>
            <pc:docMk/>
            <pc:sldMk cId="700343843" sldId="261"/>
            <ac:spMk id="19" creationId="{9E815A05-F67B-411E-82F1-77B1508273CB}"/>
          </ac:spMkLst>
        </pc:spChg>
        <pc:picChg chg="del mod">
          <ac:chgData name="Izzet Can Sahpaz" userId="S::izzet_can.sahpaz@cs.reutlingen-university.de::e9f1c557-1bf0-478a-b564-976aded079b8" providerId="AD" clId="Web-{4DDD6C6A-5C9F-4FC6-955B-5DA7B0AE54B1}" dt="2020-06-30T13:29:27.645" v="138"/>
          <ac:picMkLst>
            <pc:docMk/>
            <pc:sldMk cId="700343843" sldId="261"/>
            <ac:picMk id="7" creationId="{920D92D6-7D3B-4D8E-8E6C-A1A282425754}"/>
          </ac:picMkLst>
        </pc:picChg>
        <pc:picChg chg="mod">
          <ac:chgData name="Izzet Can Sahpaz" userId="S::izzet_can.sahpaz@cs.reutlingen-university.de::e9f1c557-1bf0-478a-b564-976aded079b8" providerId="AD" clId="Web-{4DDD6C6A-5C9F-4FC6-955B-5DA7B0AE54B1}" dt="2020-06-30T13:30:04.380" v="151" actId="1076"/>
          <ac:picMkLst>
            <pc:docMk/>
            <pc:sldMk cId="700343843" sldId="261"/>
            <ac:picMk id="9" creationId="{826DB8E4-E830-49E5-BB8E-AD65C13336B1}"/>
          </ac:picMkLst>
        </pc:picChg>
        <pc:picChg chg="mod">
          <ac:chgData name="Izzet Can Sahpaz" userId="S::izzet_can.sahpaz@cs.reutlingen-university.de::e9f1c557-1bf0-478a-b564-976aded079b8" providerId="AD" clId="Web-{4DDD6C6A-5C9F-4FC6-955B-5DA7B0AE54B1}" dt="2020-06-30T13:30:01.067" v="149" actId="1076"/>
          <ac:picMkLst>
            <pc:docMk/>
            <pc:sldMk cId="700343843" sldId="261"/>
            <ac:picMk id="16" creationId="{4DBA6DCD-4D70-4B71-8B3E-248098CC0041}"/>
          </ac:picMkLst>
        </pc:picChg>
        <pc:picChg chg="add mod">
          <ac:chgData name="Izzet Can Sahpaz" userId="S::izzet_can.sahpaz@cs.reutlingen-university.de::e9f1c557-1bf0-478a-b564-976aded079b8" providerId="AD" clId="Web-{4DDD6C6A-5C9F-4FC6-955B-5DA7B0AE54B1}" dt="2020-06-30T13:29:39.802" v="143" actId="1076"/>
          <ac:picMkLst>
            <pc:docMk/>
            <pc:sldMk cId="700343843" sldId="261"/>
            <ac:picMk id="21" creationId="{9C8D6480-F195-411C-836D-392B647A290D}"/>
          </ac:picMkLst>
        </pc:picChg>
        <pc:cxnChg chg="mod">
          <ac:chgData name="Izzet Can Sahpaz" userId="S::izzet_can.sahpaz@cs.reutlingen-university.de::e9f1c557-1bf0-478a-b564-976aded079b8" providerId="AD" clId="Web-{4DDD6C6A-5C9F-4FC6-955B-5DA7B0AE54B1}" dt="2020-06-30T13:30:01.051" v="148" actId="1076"/>
          <ac:cxnSpMkLst>
            <pc:docMk/>
            <pc:sldMk cId="700343843" sldId="261"/>
            <ac:cxnSpMk id="6" creationId="{F9C10A51-C2D7-4D7D-AAED-8E3C37665CED}"/>
          </ac:cxnSpMkLst>
        </pc:cxnChg>
      </pc:sldChg>
    </pc:docChg>
  </pc:docChgLst>
  <pc:docChgLst>
    <pc:chgData name="Isabel Cecile Staaden" userId="S::isabel_cecile.staaden@cs.reutlingen-university.de::3c1b1903-24ee-4c58-b486-3184dcc13670" providerId="AD" clId="Web-{3FC587E6-2253-40FF-9267-A3C53E21FED4}"/>
    <pc:docChg chg="modSld">
      <pc:chgData name="Isabel Cecile Staaden" userId="S::isabel_cecile.staaden@cs.reutlingen-university.de::3c1b1903-24ee-4c58-b486-3184dcc13670" providerId="AD" clId="Web-{3FC587E6-2253-40FF-9267-A3C53E21FED4}" dt="2020-06-30T12:12:15.725" v="79" actId="20577"/>
      <pc:docMkLst>
        <pc:docMk/>
      </pc:docMkLst>
      <pc:sldChg chg="modSp">
        <pc:chgData name="Isabel Cecile Staaden" userId="S::isabel_cecile.staaden@cs.reutlingen-university.de::3c1b1903-24ee-4c58-b486-3184dcc13670" providerId="AD" clId="Web-{3FC587E6-2253-40FF-9267-A3C53E21FED4}" dt="2020-06-30T12:12:15.725" v="78" actId="20577"/>
        <pc:sldMkLst>
          <pc:docMk/>
          <pc:sldMk cId="2561161488" sldId="256"/>
        </pc:sldMkLst>
        <pc:spChg chg="mod">
          <ac:chgData name="Isabel Cecile Staaden" userId="S::isabel_cecile.staaden@cs.reutlingen-university.de::3c1b1903-24ee-4c58-b486-3184dcc13670" providerId="AD" clId="Web-{3FC587E6-2253-40FF-9267-A3C53E21FED4}" dt="2020-06-30T12:12:15.725" v="78" actId="20577"/>
          <ac:spMkLst>
            <pc:docMk/>
            <pc:sldMk cId="2561161488" sldId="256"/>
            <ac:spMk id="2" creationId="{678310F3-2E25-406D-8666-5AB853C5C003}"/>
          </ac:spMkLst>
        </pc:spChg>
      </pc:sldChg>
      <pc:sldChg chg="addSp modSp">
        <pc:chgData name="Isabel Cecile Staaden" userId="S::isabel_cecile.staaden@cs.reutlingen-university.de::3c1b1903-24ee-4c58-b486-3184dcc13670" providerId="AD" clId="Web-{3FC587E6-2253-40FF-9267-A3C53E21FED4}" dt="2020-06-30T11:58:51.822" v="11" actId="1076"/>
        <pc:sldMkLst>
          <pc:docMk/>
          <pc:sldMk cId="3911582079" sldId="257"/>
        </pc:sldMkLst>
        <pc:picChg chg="add mod">
          <ac:chgData name="Isabel Cecile Staaden" userId="S::isabel_cecile.staaden@cs.reutlingen-university.de::3c1b1903-24ee-4c58-b486-3184dcc13670" providerId="AD" clId="Web-{3FC587E6-2253-40FF-9267-A3C53E21FED4}" dt="2020-06-30T11:58:51.822" v="11" actId="1076"/>
          <ac:picMkLst>
            <pc:docMk/>
            <pc:sldMk cId="3911582079" sldId="257"/>
            <ac:picMk id="3" creationId="{BB7430AE-2D19-4568-ACE1-9E1B3DFAE49F}"/>
          </ac:picMkLst>
        </pc:picChg>
        <pc:picChg chg="mod">
          <ac:chgData name="Isabel Cecile Staaden" userId="S::isabel_cecile.staaden@cs.reutlingen-university.de::3c1b1903-24ee-4c58-b486-3184dcc13670" providerId="AD" clId="Web-{3FC587E6-2253-40FF-9267-A3C53E21FED4}" dt="2020-06-30T11:58:43.291" v="10" actId="1076"/>
          <ac:picMkLst>
            <pc:docMk/>
            <pc:sldMk cId="3911582079" sldId="257"/>
            <ac:picMk id="9" creationId="{61BAD649-1082-4C32-A644-9E23CD54AFD8}"/>
          </ac:picMkLst>
        </pc:picChg>
      </pc:sldChg>
      <pc:sldChg chg="addSp modSp">
        <pc:chgData name="Isabel Cecile Staaden" userId="S::isabel_cecile.staaden@cs.reutlingen-university.de::3c1b1903-24ee-4c58-b486-3184dcc13670" providerId="AD" clId="Web-{3FC587E6-2253-40FF-9267-A3C53E21FED4}" dt="2020-06-30T11:52:56.801" v="5" actId="1076"/>
        <pc:sldMkLst>
          <pc:docMk/>
          <pc:sldMk cId="1433843910" sldId="258"/>
        </pc:sldMkLst>
        <pc:picChg chg="add mod">
          <ac:chgData name="Isabel Cecile Staaden" userId="S::isabel_cecile.staaden@cs.reutlingen-university.de::3c1b1903-24ee-4c58-b486-3184dcc13670" providerId="AD" clId="Web-{3FC587E6-2253-40FF-9267-A3C53E21FED4}" dt="2020-06-30T11:52:56.801" v="5" actId="1076"/>
          <ac:picMkLst>
            <pc:docMk/>
            <pc:sldMk cId="1433843910" sldId="258"/>
            <ac:picMk id="3" creationId="{74F12F7F-1685-44E7-82E1-F0A16A48C0A0}"/>
          </ac:picMkLst>
        </pc:picChg>
      </pc:sldChg>
      <pc:sldChg chg="addSp modSp">
        <pc:chgData name="Isabel Cecile Staaden" userId="S::isabel_cecile.staaden@cs.reutlingen-university.de::3c1b1903-24ee-4c58-b486-3184dcc13670" providerId="AD" clId="Web-{3FC587E6-2253-40FF-9267-A3C53E21FED4}" dt="2020-06-30T12:06:55.360" v="26" actId="1076"/>
        <pc:sldMkLst>
          <pc:docMk/>
          <pc:sldMk cId="775540487" sldId="259"/>
        </pc:sldMkLst>
        <pc:spChg chg="add mod">
          <ac:chgData name="Isabel Cecile Staaden" userId="S::isabel_cecile.staaden@cs.reutlingen-university.de::3c1b1903-24ee-4c58-b486-3184dcc13670" providerId="AD" clId="Web-{3FC587E6-2253-40FF-9267-A3C53E21FED4}" dt="2020-06-30T12:06:04.438" v="21"/>
          <ac:spMkLst>
            <pc:docMk/>
            <pc:sldMk cId="775540487" sldId="259"/>
            <ac:spMk id="10" creationId="{3BE0BE09-C365-439E-BAE8-CDBC2740CEF1}"/>
          </ac:spMkLst>
        </pc:spChg>
        <pc:picChg chg="add">
          <ac:chgData name="Isabel Cecile Staaden" userId="S::isabel_cecile.staaden@cs.reutlingen-university.de::3c1b1903-24ee-4c58-b486-3184dcc13670" providerId="AD" clId="Web-{3FC587E6-2253-40FF-9267-A3C53E21FED4}" dt="2020-06-30T12:04:59.984" v="12"/>
          <ac:picMkLst>
            <pc:docMk/>
            <pc:sldMk cId="775540487" sldId="259"/>
            <ac:picMk id="3" creationId="{EB8906DF-82CF-4E58-B88E-F2758B3609E5}"/>
          </ac:picMkLst>
        </pc:picChg>
        <pc:picChg chg="add mod modCrop">
          <ac:chgData name="Isabel Cecile Staaden" userId="S::isabel_cecile.staaden@cs.reutlingen-university.de::3c1b1903-24ee-4c58-b486-3184dcc13670" providerId="AD" clId="Web-{3FC587E6-2253-40FF-9267-A3C53E21FED4}" dt="2020-06-30T12:05:39.922" v="17" actId="14100"/>
          <ac:picMkLst>
            <pc:docMk/>
            <pc:sldMk cId="775540487" sldId="259"/>
            <ac:picMk id="4" creationId="{F92DB763-BFDD-4AA9-A027-BD6CE73D3EA0}"/>
          </ac:picMkLst>
        </pc:picChg>
        <pc:picChg chg="add mod modCrop">
          <ac:chgData name="Isabel Cecile Staaden" userId="S::isabel_cecile.staaden@cs.reutlingen-university.de::3c1b1903-24ee-4c58-b486-3184dcc13670" providerId="AD" clId="Web-{3FC587E6-2253-40FF-9267-A3C53E21FED4}" dt="2020-06-30T12:06:55.360" v="26" actId="1076"/>
          <ac:picMkLst>
            <pc:docMk/>
            <pc:sldMk cId="775540487" sldId="259"/>
            <ac:picMk id="12" creationId="{3BFBCB42-05E3-474C-BC67-251439F0783B}"/>
          </ac:picMkLst>
        </pc:picChg>
      </pc:sldChg>
    </pc:docChg>
  </pc:docChgLst>
  <pc:docChgLst>
    <pc:chgData name="Isabel Cecile Staaden" userId="S::isabel_cecile.staaden@cs.reutlingen-university.de::3c1b1903-24ee-4c58-b486-3184dcc13670" providerId="AD" clId="Web-{4E7C8890-D0A3-4B36-9498-94603EB02B65}"/>
    <pc:docChg chg="modSld sldOrd">
      <pc:chgData name="Isabel Cecile Staaden" userId="S::isabel_cecile.staaden@cs.reutlingen-university.de::3c1b1903-24ee-4c58-b486-3184dcc13670" providerId="AD" clId="Web-{4E7C8890-D0A3-4B36-9498-94603EB02B65}" dt="2020-06-30T12:43:25.065" v="630" actId="14100"/>
      <pc:docMkLst>
        <pc:docMk/>
      </pc:docMkLst>
      <pc:sldChg chg="modSp">
        <pc:chgData name="Isabel Cecile Staaden" userId="S::isabel_cecile.staaden@cs.reutlingen-university.de::3c1b1903-24ee-4c58-b486-3184dcc13670" providerId="AD" clId="Web-{4E7C8890-D0A3-4B36-9498-94603EB02B65}" dt="2020-06-30T12:35:22.381" v="369" actId="20577"/>
        <pc:sldMkLst>
          <pc:docMk/>
          <pc:sldMk cId="2561161488" sldId="256"/>
        </pc:sldMkLst>
        <pc:spChg chg="mod">
          <ac:chgData name="Isabel Cecile Staaden" userId="S::isabel_cecile.staaden@cs.reutlingen-university.de::3c1b1903-24ee-4c58-b486-3184dcc13670" providerId="AD" clId="Web-{4E7C8890-D0A3-4B36-9498-94603EB02B65}" dt="2020-06-30T12:33:32.428" v="321" actId="1076"/>
          <ac:spMkLst>
            <pc:docMk/>
            <pc:sldMk cId="2561161488" sldId="256"/>
            <ac:spMk id="2" creationId="{678310F3-2E25-406D-8666-5AB853C5C003}"/>
          </ac:spMkLst>
        </pc:spChg>
        <pc:spChg chg="mod">
          <ac:chgData name="Isabel Cecile Staaden" userId="S::isabel_cecile.staaden@cs.reutlingen-university.de::3c1b1903-24ee-4c58-b486-3184dcc13670" providerId="AD" clId="Web-{4E7C8890-D0A3-4B36-9498-94603EB02B65}" dt="2020-06-30T12:35:22.381" v="369" actId="20577"/>
          <ac:spMkLst>
            <pc:docMk/>
            <pc:sldMk cId="2561161488" sldId="256"/>
            <ac:spMk id="13" creationId="{E98FE4E2-4CD6-4EA4-A3BA-E95A4413DB8C}"/>
          </ac:spMkLst>
        </pc:spChg>
        <pc:spChg chg="mod">
          <ac:chgData name="Isabel Cecile Staaden" userId="S::isabel_cecile.staaden@cs.reutlingen-university.de::3c1b1903-24ee-4c58-b486-3184dcc13670" providerId="AD" clId="Web-{4E7C8890-D0A3-4B36-9498-94603EB02B65}" dt="2020-06-30T12:35:00.849" v="328" actId="20577"/>
          <ac:spMkLst>
            <pc:docMk/>
            <pc:sldMk cId="2561161488" sldId="256"/>
            <ac:spMk id="16" creationId="{55C41403-A46C-46FC-8194-0C15E4AC654E}"/>
          </ac:spMkLst>
        </pc:spChg>
      </pc:sldChg>
      <pc:sldChg chg="addSp delSp modSp ord">
        <pc:chgData name="Isabel Cecile Staaden" userId="S::isabel_cecile.staaden@cs.reutlingen-university.de::3c1b1903-24ee-4c58-b486-3184dcc13670" providerId="AD" clId="Web-{4E7C8890-D0A3-4B36-9498-94603EB02B65}" dt="2020-06-30T12:43:25.065" v="630" actId="14100"/>
        <pc:sldMkLst>
          <pc:docMk/>
          <pc:sldMk cId="775540487" sldId="259"/>
        </pc:sldMkLst>
        <pc:spChg chg="del mod">
          <ac:chgData name="Isabel Cecile Staaden" userId="S::isabel_cecile.staaden@cs.reutlingen-university.de::3c1b1903-24ee-4c58-b486-3184dcc13670" providerId="AD" clId="Web-{4E7C8890-D0A3-4B36-9498-94603EB02B65}" dt="2020-06-30T12:36:46.317" v="377"/>
          <ac:spMkLst>
            <pc:docMk/>
            <pc:sldMk cId="775540487" sldId="259"/>
            <ac:spMk id="5" creationId="{38DC3B1E-8BD6-4EA1-9316-0A026133E459}"/>
          </ac:spMkLst>
        </pc:spChg>
        <pc:spChg chg="mod">
          <ac:chgData name="Isabel Cecile Staaden" userId="S::isabel_cecile.staaden@cs.reutlingen-university.de::3c1b1903-24ee-4c58-b486-3184dcc13670" providerId="AD" clId="Web-{4E7C8890-D0A3-4B36-9498-94603EB02B65}" dt="2020-06-30T12:36:54.598" v="378" actId="1076"/>
          <ac:spMkLst>
            <pc:docMk/>
            <pc:sldMk cId="775540487" sldId="259"/>
            <ac:spMk id="6" creationId="{D4C47D7A-96C6-49C9-BA48-4EAB71EB30F1}"/>
          </ac:spMkLst>
        </pc:spChg>
        <pc:spChg chg="mod">
          <ac:chgData name="Isabel Cecile Staaden" userId="S::isabel_cecile.staaden@cs.reutlingen-university.de::3c1b1903-24ee-4c58-b486-3184dcc13670" providerId="AD" clId="Web-{4E7C8890-D0A3-4B36-9498-94603EB02B65}" dt="2020-06-30T12:30:25.007" v="292" actId="1076"/>
          <ac:spMkLst>
            <pc:docMk/>
            <pc:sldMk cId="775540487" sldId="259"/>
            <ac:spMk id="7" creationId="{1D4629BE-3444-4C28-A729-0FED6CB631B2}"/>
          </ac:spMkLst>
        </pc:spChg>
        <pc:spChg chg="mod">
          <ac:chgData name="Isabel Cecile Staaden" userId="S::isabel_cecile.staaden@cs.reutlingen-university.de::3c1b1903-24ee-4c58-b486-3184dcc13670" providerId="AD" clId="Web-{4E7C8890-D0A3-4B36-9498-94603EB02B65}" dt="2020-06-30T12:28:03.680" v="1" actId="1076"/>
          <ac:spMkLst>
            <pc:docMk/>
            <pc:sldMk cId="775540487" sldId="259"/>
            <ac:spMk id="8" creationId="{50ECB459-E26E-4F87-917B-05E170C1E1AB}"/>
          </ac:spMkLst>
        </pc:spChg>
        <pc:spChg chg="mod">
          <ac:chgData name="Isabel Cecile Staaden" userId="S::isabel_cecile.staaden@cs.reutlingen-university.de::3c1b1903-24ee-4c58-b486-3184dcc13670" providerId="AD" clId="Web-{4E7C8890-D0A3-4B36-9498-94603EB02B65}" dt="2020-06-30T12:31:47.585" v="303" actId="1076"/>
          <ac:spMkLst>
            <pc:docMk/>
            <pc:sldMk cId="775540487" sldId="259"/>
            <ac:spMk id="13" creationId="{6D7D499A-B27B-441D-91B4-FF777CA53299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43:25.065" v="630" actId="14100"/>
          <ac:spMkLst>
            <pc:docMk/>
            <pc:sldMk cId="775540487" sldId="259"/>
            <ac:spMk id="18" creationId="{E6ED8A01-5006-49CB-9EFF-68324E2D0D55}"/>
          </ac:spMkLst>
        </pc:spChg>
        <pc:spChg chg="mod">
          <ac:chgData name="Isabel Cecile Staaden" userId="S::isabel_cecile.staaden@cs.reutlingen-university.de::3c1b1903-24ee-4c58-b486-3184dcc13670" providerId="AD" clId="Web-{4E7C8890-D0A3-4B36-9498-94603EB02B65}" dt="2020-06-30T12:38:13.676" v="414" actId="1076"/>
          <ac:spMkLst>
            <pc:docMk/>
            <pc:sldMk cId="775540487" sldId="259"/>
            <ac:spMk id="26" creationId="{3F61C3AF-CA62-4FE6-B246-730839BADDC8}"/>
          </ac:spMkLst>
        </pc:spChg>
        <pc:spChg chg="mod">
          <ac:chgData name="Isabel Cecile Staaden" userId="S::isabel_cecile.staaden@cs.reutlingen-university.de::3c1b1903-24ee-4c58-b486-3184dcc13670" providerId="AD" clId="Web-{4E7C8890-D0A3-4B36-9498-94603EB02B65}" dt="2020-06-30T12:37:45.051" v="407" actId="1076"/>
          <ac:spMkLst>
            <pc:docMk/>
            <pc:sldMk cId="775540487" sldId="259"/>
            <ac:spMk id="29" creationId="{4850D476-18FF-449C-8866-673F246671B2}"/>
          </ac:spMkLst>
        </pc:spChg>
        <pc:spChg chg="mod">
          <ac:chgData name="Isabel Cecile Staaden" userId="S::isabel_cecile.staaden@cs.reutlingen-university.de::3c1b1903-24ee-4c58-b486-3184dcc13670" providerId="AD" clId="Web-{4E7C8890-D0A3-4B36-9498-94603EB02B65}" dt="2020-06-30T12:31:40.835" v="301" actId="1076"/>
          <ac:spMkLst>
            <pc:docMk/>
            <pc:sldMk cId="775540487" sldId="259"/>
            <ac:spMk id="30" creationId="{52C5201E-AAF1-4191-B500-79674FDF63EB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41:45.722" v="594" actId="1076"/>
          <ac:spMkLst>
            <pc:docMk/>
            <pc:sldMk cId="775540487" sldId="259"/>
            <ac:spMk id="41" creationId="{804D7DB7-5041-4982-BD80-2515BB3DE819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42:01.378" v="597" actId="1076"/>
          <ac:spMkLst>
            <pc:docMk/>
            <pc:sldMk cId="775540487" sldId="259"/>
            <ac:spMk id="42" creationId="{632871CC-B6D7-4F10-A182-9813EB03DAEE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41:26.503" v="586" actId="20577"/>
          <ac:spMkLst>
            <pc:docMk/>
            <pc:sldMk cId="775540487" sldId="259"/>
            <ac:spMk id="43" creationId="{257265B7-F3E1-4930-9E26-CEF5D3691AB2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41:30.987" v="589" actId="20577"/>
          <ac:spMkLst>
            <pc:docMk/>
            <pc:sldMk cId="775540487" sldId="259"/>
            <ac:spMk id="44" creationId="{07AA9518-58FA-4F71-A705-559D23F6F432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38:00.379" v="411" actId="1076"/>
          <ac:spMkLst>
            <pc:docMk/>
            <pc:sldMk cId="775540487" sldId="259"/>
            <ac:spMk id="45" creationId="{DF901763-F73B-43E7-96A1-4606FCF9F997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37:51.895" v="410" actId="1076"/>
          <ac:spMkLst>
            <pc:docMk/>
            <pc:sldMk cId="775540487" sldId="259"/>
            <ac:spMk id="46" creationId="{BE214EA6-3BA8-4DDB-B184-025B3F01D9D3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38:09.660" v="413" actId="1076"/>
          <ac:spMkLst>
            <pc:docMk/>
            <pc:sldMk cId="775540487" sldId="259"/>
            <ac:spMk id="47" creationId="{698D5C1D-7A4C-4BAB-9DF2-C4582DE6212A}"/>
          </ac:spMkLst>
        </pc:spChg>
        <pc:spChg chg="add del mod">
          <ac:chgData name="Isabel Cecile Staaden" userId="S::isabel_cecile.staaden@cs.reutlingen-university.de::3c1b1903-24ee-4c58-b486-3184dcc13670" providerId="AD" clId="Web-{4E7C8890-D0A3-4B36-9498-94603EB02B65}" dt="2020-06-30T12:39:13.988" v="448"/>
          <ac:spMkLst>
            <pc:docMk/>
            <pc:sldMk cId="775540487" sldId="259"/>
            <ac:spMk id="48" creationId="{05791B51-6EA4-4257-A5A3-6BB69F277019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39:37.238" v="467" actId="20577"/>
          <ac:spMkLst>
            <pc:docMk/>
            <pc:sldMk cId="775540487" sldId="259"/>
            <ac:spMk id="49" creationId="{AFE0832D-71EF-4365-9540-F733519E68F2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39:48.004" v="483" actId="20577"/>
          <ac:spMkLst>
            <pc:docMk/>
            <pc:sldMk cId="775540487" sldId="259"/>
            <ac:spMk id="50" creationId="{F024E3AD-5ADC-41D1-A300-FE3A73C2AC0E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39:55.613" v="487" actId="1076"/>
          <ac:spMkLst>
            <pc:docMk/>
            <pc:sldMk cId="775540487" sldId="259"/>
            <ac:spMk id="51" creationId="{DA529831-2C5E-4E48-98E7-7887D275BEEF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40:00.832" v="489" actId="1076"/>
          <ac:spMkLst>
            <pc:docMk/>
            <pc:sldMk cId="775540487" sldId="259"/>
            <ac:spMk id="52" creationId="{58CA46E3-54AC-4364-8D29-5215CEF3EEFC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42:13.831" v="609" actId="20577"/>
          <ac:spMkLst>
            <pc:docMk/>
            <pc:sldMk cId="775540487" sldId="259"/>
            <ac:spMk id="55" creationId="{2095B29B-30EB-4304-A8AA-6C3A19D01D0C}"/>
          </ac:spMkLst>
        </pc:spChg>
        <pc:spChg chg="add mod">
          <ac:chgData name="Isabel Cecile Staaden" userId="S::isabel_cecile.staaden@cs.reutlingen-university.de::3c1b1903-24ee-4c58-b486-3184dcc13670" providerId="AD" clId="Web-{4E7C8890-D0A3-4B36-9498-94603EB02B65}" dt="2020-06-30T12:42:17.159" v="616" actId="20577"/>
          <ac:spMkLst>
            <pc:docMk/>
            <pc:sldMk cId="775540487" sldId="259"/>
            <ac:spMk id="56" creationId="{515D9531-2E64-444A-A4E4-7F785DD98E73}"/>
          </ac:spMkLst>
        </pc:spChg>
        <pc:grpChg chg="del mod">
          <ac:chgData name="Isabel Cecile Staaden" userId="S::isabel_cecile.staaden@cs.reutlingen-university.de::3c1b1903-24ee-4c58-b486-3184dcc13670" providerId="AD" clId="Web-{4E7C8890-D0A3-4B36-9498-94603EB02B65}" dt="2020-06-30T12:37:00.426" v="379"/>
          <ac:grpSpMkLst>
            <pc:docMk/>
            <pc:sldMk cId="775540487" sldId="259"/>
            <ac:grpSpMk id="24" creationId="{4793D199-607A-451C-8598-6FEB331F6637}"/>
          </ac:grpSpMkLst>
        </pc:grpChg>
        <pc:grpChg chg="add del">
          <ac:chgData name="Isabel Cecile Staaden" userId="S::isabel_cecile.staaden@cs.reutlingen-university.de::3c1b1903-24ee-4c58-b486-3184dcc13670" providerId="AD" clId="Web-{4E7C8890-D0A3-4B36-9498-94603EB02B65}" dt="2020-06-30T12:31:02.397" v="298"/>
          <ac:grpSpMkLst>
            <pc:docMk/>
            <pc:sldMk cId="775540487" sldId="259"/>
            <ac:grpSpMk id="31" creationId="{31F7BD29-B681-4A12-9478-0CEAF0088C49}"/>
          </ac:grpSpMkLst>
        </pc:grpChg>
        <pc:cxnChg chg="add mod">
          <ac:chgData name="Isabel Cecile Staaden" userId="S::isabel_cecile.staaden@cs.reutlingen-university.de::3c1b1903-24ee-4c58-b486-3184dcc13670" providerId="AD" clId="Web-{4E7C8890-D0A3-4B36-9498-94603EB02B65}" dt="2020-06-30T12:38:56.004" v="443" actId="1076"/>
          <ac:cxnSpMkLst>
            <pc:docMk/>
            <pc:sldMk cId="775540487" sldId="259"/>
            <ac:cxnSpMk id="14" creationId="{513F6917-72D2-4E8B-BB0C-68F820EC4E65}"/>
          </ac:cxnSpMkLst>
        </pc:cxnChg>
        <pc:cxnChg chg="add mod">
          <ac:chgData name="Isabel Cecile Staaden" userId="S::isabel_cecile.staaden@cs.reutlingen-university.de::3c1b1903-24ee-4c58-b486-3184dcc13670" providerId="AD" clId="Web-{4E7C8890-D0A3-4B36-9498-94603EB02B65}" dt="2020-06-30T12:39:00.926" v="444" actId="1076"/>
          <ac:cxnSpMkLst>
            <pc:docMk/>
            <pc:sldMk cId="775540487" sldId="259"/>
            <ac:cxnSpMk id="16" creationId="{F0F2D7D2-5B01-4EB8-B518-FD1335FF8D11}"/>
          </ac:cxnSpMkLst>
        </pc:cxnChg>
        <pc:cxnChg chg="mod">
          <ac:chgData name="Isabel Cecile Staaden" userId="S::isabel_cecile.staaden@cs.reutlingen-university.de::3c1b1903-24ee-4c58-b486-3184dcc13670" providerId="AD" clId="Web-{4E7C8890-D0A3-4B36-9498-94603EB02B65}" dt="2020-06-30T12:30:47.429" v="294" actId="1076"/>
          <ac:cxnSpMkLst>
            <pc:docMk/>
            <pc:sldMk cId="775540487" sldId="259"/>
            <ac:cxnSpMk id="20" creationId="{09E1ACC0-6EBD-4069-8B92-755BB0A8210D}"/>
          </ac:cxnSpMkLst>
        </pc:cxnChg>
        <pc:cxnChg chg="mod">
          <ac:chgData name="Isabel Cecile Staaden" userId="S::isabel_cecile.staaden@cs.reutlingen-university.de::3c1b1903-24ee-4c58-b486-3184dcc13670" providerId="AD" clId="Web-{4E7C8890-D0A3-4B36-9498-94603EB02B65}" dt="2020-06-30T12:30:37.694" v="293" actId="1076"/>
          <ac:cxnSpMkLst>
            <pc:docMk/>
            <pc:sldMk cId="775540487" sldId="259"/>
            <ac:cxnSpMk id="21" creationId="{E14A608C-FD04-4194-BA9F-D5983A778189}"/>
          </ac:cxnSpMkLst>
        </pc:cxnChg>
        <pc:cxnChg chg="mod">
          <ac:chgData name="Isabel Cecile Staaden" userId="S::isabel_cecile.staaden@cs.reutlingen-university.de::3c1b1903-24ee-4c58-b486-3184dcc13670" providerId="AD" clId="Web-{4E7C8890-D0A3-4B36-9498-94603EB02B65}" dt="2020-06-30T12:29:09.179" v="169" actId="1076"/>
          <ac:cxnSpMkLst>
            <pc:docMk/>
            <pc:sldMk cId="775540487" sldId="259"/>
            <ac:cxnSpMk id="22" creationId="{6219C78A-E109-4F47-B439-45F5A53C1988}"/>
          </ac:cxnSpMkLst>
        </pc:cxnChg>
        <pc:cxnChg chg="mod">
          <ac:chgData name="Isabel Cecile Staaden" userId="S::isabel_cecile.staaden@cs.reutlingen-university.de::3c1b1903-24ee-4c58-b486-3184dcc13670" providerId="AD" clId="Web-{4E7C8890-D0A3-4B36-9498-94603EB02B65}" dt="2020-06-30T12:28:15.117" v="3" actId="1076"/>
          <ac:cxnSpMkLst>
            <pc:docMk/>
            <pc:sldMk cId="775540487" sldId="259"/>
            <ac:cxnSpMk id="23" creationId="{04CF3FC2-B8A3-49B5-A50D-9C106B339599}"/>
          </ac:cxnSpMkLst>
        </pc:cxnChg>
        <pc:cxnChg chg="mod">
          <ac:chgData name="Isabel Cecile Staaden" userId="S::isabel_cecile.staaden@cs.reutlingen-university.de::3c1b1903-24ee-4c58-b486-3184dcc13670" providerId="AD" clId="Web-{4E7C8890-D0A3-4B36-9498-94603EB02B65}" dt="2020-06-30T12:31:02.397" v="298"/>
          <ac:cxnSpMkLst>
            <pc:docMk/>
            <pc:sldMk cId="775540487" sldId="259"/>
            <ac:cxnSpMk id="36" creationId="{878C1630-F887-406C-BC5A-9F83257A8A58}"/>
          </ac:cxnSpMkLst>
        </pc:cxnChg>
        <pc:cxnChg chg="mod">
          <ac:chgData name="Isabel Cecile Staaden" userId="S::isabel_cecile.staaden@cs.reutlingen-university.de::3c1b1903-24ee-4c58-b486-3184dcc13670" providerId="AD" clId="Web-{4E7C8890-D0A3-4B36-9498-94603EB02B65}" dt="2020-06-30T12:31:02.397" v="298"/>
          <ac:cxnSpMkLst>
            <pc:docMk/>
            <pc:sldMk cId="775540487" sldId="259"/>
            <ac:cxnSpMk id="37" creationId="{487B840C-4FA8-4A4A-9681-15729F61A229}"/>
          </ac:cxnSpMkLst>
        </pc:cxnChg>
        <pc:cxnChg chg="mod">
          <ac:chgData name="Isabel Cecile Staaden" userId="S::isabel_cecile.staaden@cs.reutlingen-university.de::3c1b1903-24ee-4c58-b486-3184dcc13670" providerId="AD" clId="Web-{4E7C8890-D0A3-4B36-9498-94603EB02B65}" dt="2020-06-30T12:31:02.397" v="298"/>
          <ac:cxnSpMkLst>
            <pc:docMk/>
            <pc:sldMk cId="775540487" sldId="259"/>
            <ac:cxnSpMk id="38" creationId="{A3696ABF-D1A9-459E-8DFA-C8D24472A152}"/>
          </ac:cxnSpMkLst>
        </pc:cxnChg>
        <pc:cxnChg chg="mod">
          <ac:chgData name="Isabel Cecile Staaden" userId="S::isabel_cecile.staaden@cs.reutlingen-university.de::3c1b1903-24ee-4c58-b486-3184dcc13670" providerId="AD" clId="Web-{4E7C8890-D0A3-4B36-9498-94603EB02B65}" dt="2020-06-30T12:31:02.397" v="298"/>
          <ac:cxnSpMkLst>
            <pc:docMk/>
            <pc:sldMk cId="775540487" sldId="259"/>
            <ac:cxnSpMk id="39" creationId="{721DED68-B1DD-482D-BDB4-98EC509D2CB4}"/>
          </ac:cxnSpMkLst>
        </pc:cxnChg>
        <pc:cxnChg chg="add mod">
          <ac:chgData name="Isabel Cecile Staaden" userId="S::isabel_cecile.staaden@cs.reutlingen-university.de::3c1b1903-24ee-4c58-b486-3184dcc13670" providerId="AD" clId="Web-{4E7C8890-D0A3-4B36-9498-94603EB02B65}" dt="2020-06-30T12:40:40.941" v="498" actId="1076"/>
          <ac:cxnSpMkLst>
            <pc:docMk/>
            <pc:sldMk cId="775540487" sldId="259"/>
            <ac:cxnSpMk id="53" creationId="{4C047B53-B20A-4E78-AC9F-818A6A97A260}"/>
          </ac:cxnSpMkLst>
        </pc:cxnChg>
        <pc:cxnChg chg="add mod">
          <ac:chgData name="Isabel Cecile Staaden" userId="S::isabel_cecile.staaden@cs.reutlingen-university.de::3c1b1903-24ee-4c58-b486-3184dcc13670" providerId="AD" clId="Web-{4E7C8890-D0A3-4B36-9498-94603EB02B65}" dt="2020-06-30T12:40:32.738" v="497" actId="1076"/>
          <ac:cxnSpMkLst>
            <pc:docMk/>
            <pc:sldMk cId="775540487" sldId="259"/>
            <ac:cxnSpMk id="54" creationId="{82F409CD-A4F7-43E3-9E7B-89876369EC1F}"/>
          </ac:cxnSpMkLst>
        </pc:cxnChg>
        <pc:cxnChg chg="add mod">
          <ac:chgData name="Isabel Cecile Staaden" userId="S::isabel_cecile.staaden@cs.reutlingen-university.de::3c1b1903-24ee-4c58-b486-3184dcc13670" providerId="AD" clId="Web-{4E7C8890-D0A3-4B36-9498-94603EB02B65}" dt="2020-06-30T12:42:26.643" v="621" actId="1076"/>
          <ac:cxnSpMkLst>
            <pc:docMk/>
            <pc:sldMk cId="775540487" sldId="259"/>
            <ac:cxnSpMk id="57" creationId="{8D0DA359-A054-4C9F-9E1F-2141D44E71C0}"/>
          </ac:cxnSpMkLst>
        </pc:cxnChg>
        <pc:cxnChg chg="add mod">
          <ac:chgData name="Isabel Cecile Staaden" userId="S::isabel_cecile.staaden@cs.reutlingen-university.de::3c1b1903-24ee-4c58-b486-3184dcc13670" providerId="AD" clId="Web-{4E7C8890-D0A3-4B36-9498-94603EB02B65}" dt="2020-06-30T12:42:47.409" v="623" actId="1076"/>
          <ac:cxnSpMkLst>
            <pc:docMk/>
            <pc:sldMk cId="775540487" sldId="259"/>
            <ac:cxnSpMk id="58" creationId="{05233BE3-74D2-4CB7-8B4E-0FDE14C7175D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9F03EC-282A-4619-9E01-6FB641A139EE}" type="datetimeFigureOut">
              <a:rPr lang="en-GB" smtClean="0"/>
              <a:t>13/07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0B1510-CF74-43DD-B8D2-3DC1CAF96FA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0990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1CDFD-D0F4-44EE-BDC6-1112FC4C34B5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7" name="Grafik 6" descr="PPT_Logo_INF.png"/>
          <p:cNvPicPr>
            <a:picLocks noChangeAspect="1"/>
          </p:cNvPicPr>
          <p:nvPr/>
        </p:nvPicPr>
        <p:blipFill rotWithShape="1">
          <a:blip r:embed="rId2" cstate="print"/>
          <a:srcRect r="27689"/>
          <a:stretch/>
        </p:blipFill>
        <p:spPr>
          <a:xfrm>
            <a:off x="10245947" y="251327"/>
            <a:ext cx="1665980" cy="6470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033265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DAFF54-9177-4B98-B74A-D7964E20DF97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00144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7CD53-6184-4DB8-BEBE-B629BC04AF9D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0379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36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160"/>
            </a:lvl2pPr>
            <a:lvl3pPr>
              <a:defRPr sz="192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1DBCB9-C11D-48F5-B775-6C1B8ACA5386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4507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4"/>
          </a:xfrm>
        </p:spPr>
        <p:txBody>
          <a:bodyPr anchor="t"/>
          <a:lstStyle>
            <a:lvl1pPr algn="l">
              <a:defRPr sz="48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3CA17-7A3C-48E4-8B7E-D4941CF2C06A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2832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C87796-8BF0-4B39-B112-3B1528086425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91550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3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6BC1A-B7B6-4910-ADB2-6FDDB962609F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16316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A677A-6377-490F-A687-8BF1F7505640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2290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4A338F-6C1D-4B11-95BD-5F40B7DFF41C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51978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49"/>
            <a:ext cx="4011084" cy="1162051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38908D-A688-45D4-969E-CE723B6FAF0E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1687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D870D-3CB4-4CBD-8B1E-0A6AEA3E02CE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2827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22966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5" imgW="425" imgH="424" progId="TCLayout.ActiveDocument.1">
                  <p:embed/>
                </p:oleObj>
              </mc:Choice>
              <mc:Fallback>
                <p:oleObj name="think-cell Folie" r:id="rId15" imgW="425" imgH="42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6733" y="274639"/>
            <a:ext cx="11469907" cy="7348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6733" y="1095941"/>
            <a:ext cx="11469907" cy="5030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112224" y="6366926"/>
            <a:ext cx="2844800" cy="3330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6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fld id="{C0B809AA-ADEB-48C1-B693-DDDE8A7B2F4E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88555" y="6356352"/>
            <a:ext cx="768085" cy="3459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6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fld id="{0DEC41F8-5AA6-438E-B67E-CB926F88264A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476" y="6253021"/>
            <a:ext cx="3020968" cy="44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724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1097280" rtl="0" eaLnBrk="1" latinLnBrk="0" hangingPunct="1">
        <a:spcBef>
          <a:spcPct val="0"/>
        </a:spcBef>
        <a:buNone/>
        <a:defRPr sz="3360" kern="1200">
          <a:solidFill>
            <a:schemeClr val="tx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6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»"/>
        <a:defRPr sz="168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8310F3-2E25-406D-8666-5AB853C5C0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4787" y="350372"/>
            <a:ext cx="10363200" cy="1470025"/>
          </a:xfrm>
        </p:spPr>
        <p:txBody>
          <a:bodyPr>
            <a:normAutofit/>
          </a:bodyPr>
          <a:lstStyle/>
          <a:p>
            <a:r>
              <a:rPr lang="de-DE" sz="6000" b="1" dirty="0">
                <a:latin typeface="Calibri Light"/>
                <a:cs typeface="Calibri Light"/>
              </a:rPr>
              <a:t>Q'n'R  - Quick and Reactive</a:t>
            </a:r>
            <a:endParaRPr lang="de-DE" sz="60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35AF22-B1EF-473C-907C-DAA9A18A2A84}"/>
              </a:ext>
            </a:extLst>
          </p:cNvPr>
          <p:cNvSpPr txBox="1"/>
          <p:nvPr/>
        </p:nvSpPr>
        <p:spPr>
          <a:xfrm>
            <a:off x="999242" y="6495068"/>
            <a:ext cx="4204354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/>
              <a:t>für Digital Business Engineering Böblingen</a:t>
            </a:r>
            <a:endParaRPr lang="en-GB" sz="900" dirty="0"/>
          </a:p>
        </p:txBody>
      </p:sp>
      <p:pic>
        <p:nvPicPr>
          <p:cNvPr id="6" name="Content Placeholder 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CC1D36A6-0315-445C-8FDC-5FE35BF47A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60" y="1627973"/>
            <a:ext cx="1964807" cy="2619405"/>
          </a:xfrm>
          <a:prstGeom prst="rect">
            <a:avLst/>
          </a:prstGeom>
        </p:spPr>
      </p:pic>
      <p:pic>
        <p:nvPicPr>
          <p:cNvPr id="8" name="Grafik 6" descr="Ein Bild, das Person, drinnen, Frau, haltend enthält.&#10;&#10;Beschreibung automatisch generiert.">
            <a:extLst>
              <a:ext uri="{FF2B5EF4-FFF2-40B4-BE49-F238E27FC236}">
                <a16:creationId xmlns:a16="http://schemas.microsoft.com/office/drawing/2014/main" id="{39916720-D75F-444F-8012-E59B0D05F2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6507" y="1636007"/>
            <a:ext cx="1972020" cy="2619359"/>
          </a:xfrm>
          <a:prstGeom prst="rect">
            <a:avLst/>
          </a:prstGeom>
        </p:spPr>
      </p:pic>
      <p:pic>
        <p:nvPicPr>
          <p:cNvPr id="10" name="Picture 3" descr="A person wearing glasses and a cup of coffee&#10;&#10;Description automatically generated">
            <a:extLst>
              <a:ext uri="{FF2B5EF4-FFF2-40B4-BE49-F238E27FC236}">
                <a16:creationId xmlns:a16="http://schemas.microsoft.com/office/drawing/2014/main" id="{61E9E4C6-2868-4BFD-89BE-CA2416EB65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0404" y="1623579"/>
            <a:ext cx="2262415" cy="2607492"/>
          </a:xfrm>
          <a:prstGeom prst="rect">
            <a:avLst/>
          </a:prstGeom>
        </p:spPr>
      </p:pic>
      <p:pic>
        <p:nvPicPr>
          <p:cNvPr id="12" name="Grafik 9" descr="Ein Bild, das Person, Mann, drinnen, haltend enthält.&#10;&#10;Beschreibung automatisch generiert.">
            <a:extLst>
              <a:ext uri="{FF2B5EF4-FFF2-40B4-BE49-F238E27FC236}">
                <a16:creationId xmlns:a16="http://schemas.microsoft.com/office/drawing/2014/main" id="{8BC9D966-DAEB-4871-A874-4090C72BCE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154" y="1631925"/>
            <a:ext cx="1487147" cy="2609162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E98FE4E2-4CD6-4EA4-A3BA-E95A4413DB8C}"/>
              </a:ext>
            </a:extLst>
          </p:cNvPr>
          <p:cNvSpPr txBox="1"/>
          <p:nvPr/>
        </p:nvSpPr>
        <p:spPr>
          <a:xfrm>
            <a:off x="951123" y="4264036"/>
            <a:ext cx="206382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dirty="0"/>
              <a:t>Victor Veal</a:t>
            </a:r>
            <a:endParaRPr lang="de-DE" dirty="0">
              <a:cs typeface="Calibri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2EF2F5D-B9E3-475F-8D74-F2649A24F909}"/>
              </a:ext>
            </a:extLst>
          </p:cNvPr>
          <p:cNvSpPr txBox="1"/>
          <p:nvPr/>
        </p:nvSpPr>
        <p:spPr>
          <a:xfrm>
            <a:off x="3123894" y="4264036"/>
            <a:ext cx="206382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dirty="0"/>
              <a:t>Katrin Schwarz</a:t>
            </a:r>
            <a:endParaRPr lang="de-DE" dirty="0">
              <a:cs typeface="Calibri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949AD68-8E85-4FE1-8E5C-678231FB077F}"/>
              </a:ext>
            </a:extLst>
          </p:cNvPr>
          <p:cNvSpPr txBox="1"/>
          <p:nvPr/>
        </p:nvSpPr>
        <p:spPr>
          <a:xfrm>
            <a:off x="5296665" y="4264036"/>
            <a:ext cx="173332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dirty="0"/>
              <a:t>Izzet Can Sahpaz</a:t>
            </a:r>
            <a:endParaRPr lang="de-DE" dirty="0">
              <a:cs typeface="Calibri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5C41403-A46C-46FC-8194-0C15E4AC654E}"/>
              </a:ext>
            </a:extLst>
          </p:cNvPr>
          <p:cNvSpPr txBox="1"/>
          <p:nvPr/>
        </p:nvSpPr>
        <p:spPr>
          <a:xfrm>
            <a:off x="7138930" y="4264036"/>
            <a:ext cx="206382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dirty="0"/>
              <a:t>Isabel Staaden</a:t>
            </a:r>
            <a:endParaRPr lang="de-DE" dirty="0">
              <a:cs typeface="Calibri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A2774D39-2C6A-4245-B788-64D05B6B4C90}"/>
              </a:ext>
            </a:extLst>
          </p:cNvPr>
          <p:cNvSpPr txBox="1">
            <a:spLocks/>
          </p:cNvSpPr>
          <p:nvPr/>
        </p:nvSpPr>
        <p:spPr>
          <a:xfrm>
            <a:off x="1003378" y="4787186"/>
            <a:ext cx="6866671" cy="11509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1097280" rtl="0" eaLnBrk="1" latinLnBrk="0" hangingPunct="1">
              <a:spcBef>
                <a:spcPct val="0"/>
              </a:spcBef>
              <a:buNone/>
              <a:defRPr sz="3360" kern="120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r>
              <a:rPr lang="de-DE" sz="33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IoT Hackathon – DBE SoSe20 – Team 1</a:t>
            </a:r>
            <a:endParaRPr lang="de-DE" sz="3300" dirty="0">
              <a:solidFill>
                <a:schemeClr val="bg1">
                  <a:lumMod val="50000"/>
                </a:schemeClr>
              </a:solidFill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611614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17FA33-2CEB-4BBF-8631-BCD5C900B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350" dirty="0">
                <a:latin typeface="Avenir Next LT Pro Light"/>
                <a:cs typeface="Calibri Light"/>
              </a:rPr>
              <a:t>Aktuelles Problem   </a:t>
            </a:r>
          </a:p>
        </p:txBody>
      </p:sp>
      <p:pic>
        <p:nvPicPr>
          <p:cNvPr id="16" name="Grafik 16" descr="Ein Bild, das Zeichnung enthält.&#10;&#10;Beschreibung automatisch generiert.">
            <a:extLst>
              <a:ext uri="{FF2B5EF4-FFF2-40B4-BE49-F238E27FC236}">
                <a16:creationId xmlns:a16="http://schemas.microsoft.com/office/drawing/2014/main" id="{DDAFF7CC-9D76-4B3D-AF3F-EDC05819FAB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89467" y="1821534"/>
            <a:ext cx="5681133" cy="3609162"/>
          </a:xfrm>
        </p:spPr>
      </p:pic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A019944B-AC44-420B-BD43-506EE76C8EA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de-DE" sz="3350" dirty="0">
                <a:latin typeface="Calibri Light"/>
                <a:cs typeface="Calibri Light"/>
              </a:rPr>
              <a:t>Studierende verwenden verschiedene Lernservices zur Organisation des Studiums. </a:t>
            </a:r>
            <a:endParaRPr lang="de-DE" dirty="0"/>
          </a:p>
          <a:p>
            <a:r>
              <a:rPr lang="de-DE" sz="3350" dirty="0">
                <a:latin typeface="Calibri Light"/>
                <a:cs typeface="Calibri Light"/>
              </a:rPr>
              <a:t>Die Übersicht über die verschiedenen Plattformen und Links geht verloren.  </a:t>
            </a:r>
            <a:endParaRPr lang="de-DE" sz="3350" dirty="0">
              <a:cs typeface="Calibri Ligh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463924-CEC1-4138-8346-F6501DE0DEA7}"/>
              </a:ext>
            </a:extLst>
          </p:cNvPr>
          <p:cNvSpPr txBox="1"/>
          <p:nvPr/>
        </p:nvSpPr>
        <p:spPr>
          <a:xfrm>
            <a:off x="999242" y="6495068"/>
            <a:ext cx="4204354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/>
              <a:t>für Digital Business Engineering Böblingen</a:t>
            </a:r>
            <a:endParaRPr lang="en-GB" sz="900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76C41BE1-9D35-48B7-90CA-74B447018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28B45-F21B-41BE-8C41-FF8149C188FA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3B19329A-D44D-47F8-8FCD-54D15B375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IoT Hackathon  - DBE SoSe20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EBFA063-ACE0-46FB-AEAF-DD6BC990D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1582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86B000-C33C-4746-A263-BC3434CCD4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350" dirty="0">
                <a:latin typeface="Calibri Light"/>
                <a:cs typeface="Calibri Light"/>
              </a:rPr>
              <a:t>Fleischformel unserer Lösung  </a:t>
            </a:r>
            <a:endParaRPr lang="de-DE" dirty="0"/>
          </a:p>
        </p:txBody>
      </p:sp>
      <p:pic>
        <p:nvPicPr>
          <p:cNvPr id="4" name="Content Placeholder 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F92DB763-BFDD-4AA9-A027-BD6CE73D3EA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27" r="-1535" b="4400"/>
          <a:stretch/>
        </p:blipFill>
        <p:spPr>
          <a:xfrm>
            <a:off x="511574" y="1635136"/>
            <a:ext cx="1831689" cy="134823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E0BE09-C365-439E-BAE8-CDBC2740CEF1}"/>
              </a:ext>
            </a:extLst>
          </p:cNvPr>
          <p:cNvSpPr/>
          <p:nvPr/>
        </p:nvSpPr>
        <p:spPr>
          <a:xfrm>
            <a:off x="1094014" y="1983014"/>
            <a:ext cx="916214" cy="9162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Content Placeholder 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3BFBCB42-05E3-474C-BC67-251439F0783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37" t="61246" r="23148" b="12803"/>
          <a:stretch/>
        </p:blipFill>
        <p:spPr>
          <a:xfrm>
            <a:off x="3369074" y="1630393"/>
            <a:ext cx="782287" cy="679781"/>
          </a:xfrm>
          <a:prstGeom prst="rect">
            <a:avLst/>
          </a:prstGeom>
        </p:spPr>
      </p:pic>
      <p:pic>
        <p:nvPicPr>
          <p:cNvPr id="17" name="Content Placeholder 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314E421F-9380-4EAA-A338-BA7C0C1587D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27" r="-1535" b="4400"/>
          <a:stretch/>
        </p:blipFill>
        <p:spPr>
          <a:xfrm>
            <a:off x="5763930" y="1635135"/>
            <a:ext cx="1831689" cy="1348230"/>
          </a:xfrm>
          <a:prstGeom prst="rect">
            <a:avLst/>
          </a:prstGeom>
        </p:spPr>
      </p:pic>
      <p:pic>
        <p:nvPicPr>
          <p:cNvPr id="3" name="Picture 8" descr="A picture containing monitor, mirror&#10;&#10;Description automatically generated">
            <a:extLst>
              <a:ext uri="{FF2B5EF4-FFF2-40B4-BE49-F238E27FC236}">
                <a16:creationId xmlns:a16="http://schemas.microsoft.com/office/drawing/2014/main" id="{9EC2B797-81E4-4B08-8386-FB80939A0E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27" t="9091" r="20098" b="909"/>
          <a:stretch/>
        </p:blipFill>
        <p:spPr>
          <a:xfrm>
            <a:off x="3200400" y="2309767"/>
            <a:ext cx="1130597" cy="8961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85E9A2E-06A4-4961-A711-97E323C9D4CB}"/>
              </a:ext>
            </a:extLst>
          </p:cNvPr>
          <p:cNvSpPr txBox="1"/>
          <p:nvPr/>
        </p:nvSpPr>
        <p:spPr>
          <a:xfrm>
            <a:off x="2647043" y="2211613"/>
            <a:ext cx="34834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400" dirty="0"/>
              <a:t>+</a:t>
            </a:r>
            <a:endParaRPr lang="en-US" sz="2400" dirty="0">
              <a:cs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5D7E857-DB4D-4F36-815C-5CF393B0F183}"/>
              </a:ext>
            </a:extLst>
          </p:cNvPr>
          <p:cNvSpPr txBox="1"/>
          <p:nvPr/>
        </p:nvSpPr>
        <p:spPr>
          <a:xfrm>
            <a:off x="8316684" y="2211612"/>
            <a:ext cx="34834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400" dirty="0"/>
              <a:t>+</a:t>
            </a:r>
            <a:endParaRPr lang="en-US" sz="2400" dirty="0">
              <a:cs typeface="Calibr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F61C3AF-CA62-4FE6-B246-730839BADDC8}"/>
              </a:ext>
            </a:extLst>
          </p:cNvPr>
          <p:cNvSpPr txBox="1"/>
          <p:nvPr/>
        </p:nvSpPr>
        <p:spPr>
          <a:xfrm>
            <a:off x="5005614" y="2211612"/>
            <a:ext cx="34834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400" dirty="0">
                <a:cs typeface="Calibri"/>
              </a:rPr>
              <a:t>=</a:t>
            </a:r>
          </a:p>
        </p:txBody>
      </p:sp>
      <p:pic>
        <p:nvPicPr>
          <p:cNvPr id="11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13FDFDC1-0813-4F26-A9FC-68E37186EC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3127" y="1571267"/>
            <a:ext cx="3154438" cy="148147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6D7D499A-B27B-441D-91B4-FF777CA53299}"/>
              </a:ext>
            </a:extLst>
          </p:cNvPr>
          <p:cNvSpPr txBox="1"/>
          <p:nvPr/>
        </p:nvSpPr>
        <p:spPr>
          <a:xfrm>
            <a:off x="970643" y="3209471"/>
            <a:ext cx="91984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cs typeface="Calibri"/>
              </a:rPr>
              <a:t>T-Shirt 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FA41C05-383C-401A-AA2F-49FD496E5304}"/>
              </a:ext>
            </a:extLst>
          </p:cNvPr>
          <p:cNvSpPr txBox="1"/>
          <p:nvPr/>
        </p:nvSpPr>
        <p:spPr>
          <a:xfrm>
            <a:off x="2438400" y="3210076"/>
            <a:ext cx="274320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dirty="0">
                <a:cs typeface="Calibri"/>
              </a:rPr>
              <a:t>QR-Code und lesefähiger</a:t>
            </a:r>
          </a:p>
          <a:p>
            <a:pPr algn="ctr"/>
            <a:r>
              <a:rPr lang="de-DE" dirty="0">
                <a:cs typeface="Calibri"/>
              </a:rPr>
              <a:t>Laptop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850D476-18FF-449C-8866-673F246671B2}"/>
              </a:ext>
            </a:extLst>
          </p:cNvPr>
          <p:cNvSpPr txBox="1"/>
          <p:nvPr/>
        </p:nvSpPr>
        <p:spPr>
          <a:xfrm>
            <a:off x="5687786" y="3159276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cs typeface="Calibri"/>
              </a:rPr>
              <a:t>T-Shirt mit QR Code</a:t>
            </a:r>
            <a:endParaRPr lang="de-DE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2C5201E-AAF1-4191-B500-79674FDF63EB}"/>
              </a:ext>
            </a:extLst>
          </p:cNvPr>
          <p:cNvSpPr txBox="1"/>
          <p:nvPr/>
        </p:nvSpPr>
        <p:spPr>
          <a:xfrm>
            <a:off x="9111947" y="3159276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cs typeface="Calibri"/>
              </a:rPr>
              <a:t>Öffnen des Workspac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13F6917-72D2-4E8B-BB0C-68F820EC4E65}"/>
              </a:ext>
            </a:extLst>
          </p:cNvPr>
          <p:cNvCxnSpPr>
            <a:cxnSpLocks/>
          </p:cNvCxnSpPr>
          <p:nvPr/>
        </p:nvCxnSpPr>
        <p:spPr>
          <a:xfrm flipV="1">
            <a:off x="3850732" y="5074887"/>
            <a:ext cx="159594" cy="83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0F2D7D2-5B01-4EB8-B518-FD1335FF8D11}"/>
              </a:ext>
            </a:extLst>
          </p:cNvPr>
          <p:cNvCxnSpPr>
            <a:cxnSpLocks/>
          </p:cNvCxnSpPr>
          <p:nvPr/>
        </p:nvCxnSpPr>
        <p:spPr>
          <a:xfrm>
            <a:off x="3863142" y="5387900"/>
            <a:ext cx="159594" cy="83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12">
            <a:extLst>
              <a:ext uri="{FF2B5EF4-FFF2-40B4-BE49-F238E27FC236}">
                <a16:creationId xmlns:a16="http://schemas.microsoft.com/office/drawing/2014/main" id="{804D7DB7-5041-4982-BD80-2515BB3DE819}"/>
              </a:ext>
            </a:extLst>
          </p:cNvPr>
          <p:cNvSpPr txBox="1"/>
          <p:nvPr/>
        </p:nvSpPr>
        <p:spPr>
          <a:xfrm>
            <a:off x="9443356" y="4987470"/>
            <a:ext cx="118291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dirty="0">
                <a:solidFill>
                  <a:srgbClr val="FF0000"/>
                </a:solidFill>
                <a:cs typeface="Calibri"/>
              </a:rPr>
              <a:t>IT-based Service</a:t>
            </a:r>
          </a:p>
        </p:txBody>
      </p:sp>
      <p:sp>
        <p:nvSpPr>
          <p:cNvPr id="42" name="Textfeld 12">
            <a:extLst>
              <a:ext uri="{FF2B5EF4-FFF2-40B4-BE49-F238E27FC236}">
                <a16:creationId xmlns:a16="http://schemas.microsoft.com/office/drawing/2014/main" id="{632871CC-B6D7-4F10-A182-9813EB03DAEE}"/>
              </a:ext>
            </a:extLst>
          </p:cNvPr>
          <p:cNvSpPr txBox="1"/>
          <p:nvPr/>
        </p:nvSpPr>
        <p:spPr>
          <a:xfrm>
            <a:off x="5597070" y="4987471"/>
            <a:ext cx="1518556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dirty="0">
                <a:cs typeface="Calibri"/>
              </a:rPr>
              <a:t>Thing-based Function </a:t>
            </a:r>
          </a:p>
        </p:txBody>
      </p:sp>
      <p:sp>
        <p:nvSpPr>
          <p:cNvPr id="43" name="Textfeld 12">
            <a:extLst>
              <a:ext uri="{FF2B5EF4-FFF2-40B4-BE49-F238E27FC236}">
                <a16:creationId xmlns:a16="http://schemas.microsoft.com/office/drawing/2014/main" id="{257265B7-F3E1-4930-9E26-CEF5D3691AB2}"/>
              </a:ext>
            </a:extLst>
          </p:cNvPr>
          <p:cNvSpPr txBox="1"/>
          <p:nvPr/>
        </p:nvSpPr>
        <p:spPr>
          <a:xfrm>
            <a:off x="3365500" y="5123542"/>
            <a:ext cx="44812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dirty="0">
                <a:cs typeface="Calibri"/>
              </a:rPr>
              <a:t>IT </a:t>
            </a:r>
          </a:p>
        </p:txBody>
      </p:sp>
      <p:sp>
        <p:nvSpPr>
          <p:cNvPr id="44" name="Textfeld 12">
            <a:extLst>
              <a:ext uri="{FF2B5EF4-FFF2-40B4-BE49-F238E27FC236}">
                <a16:creationId xmlns:a16="http://schemas.microsoft.com/office/drawing/2014/main" id="{07AA9518-58FA-4F71-A705-559D23F6F432}"/>
              </a:ext>
            </a:extLst>
          </p:cNvPr>
          <p:cNvSpPr txBox="1"/>
          <p:nvPr/>
        </p:nvSpPr>
        <p:spPr>
          <a:xfrm>
            <a:off x="970643" y="5123542"/>
            <a:ext cx="91984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dirty="0">
                <a:cs typeface="Calibri"/>
              </a:rPr>
              <a:t>Th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F901763-F73B-43E7-96A1-4606FCF9F997}"/>
              </a:ext>
            </a:extLst>
          </p:cNvPr>
          <p:cNvSpPr txBox="1"/>
          <p:nvPr/>
        </p:nvSpPr>
        <p:spPr>
          <a:xfrm>
            <a:off x="8316685" y="5014684"/>
            <a:ext cx="34834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400" dirty="0"/>
              <a:t>+</a:t>
            </a:r>
            <a:endParaRPr lang="en-US" sz="2400" dirty="0">
              <a:cs typeface="Calibri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E214EA6-3BA8-4DDB-B184-025B3F01D9D3}"/>
              </a:ext>
            </a:extLst>
          </p:cNvPr>
          <p:cNvSpPr txBox="1"/>
          <p:nvPr/>
        </p:nvSpPr>
        <p:spPr>
          <a:xfrm>
            <a:off x="2647042" y="5014684"/>
            <a:ext cx="34834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400" dirty="0"/>
              <a:t>+</a:t>
            </a:r>
            <a:endParaRPr lang="en-US" sz="2400" dirty="0">
              <a:cs typeface="Calibri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98D5C1D-7A4C-4BAB-9DF2-C4582DE6212A}"/>
              </a:ext>
            </a:extLst>
          </p:cNvPr>
          <p:cNvSpPr txBox="1"/>
          <p:nvPr/>
        </p:nvSpPr>
        <p:spPr>
          <a:xfrm>
            <a:off x="5005613" y="5014683"/>
            <a:ext cx="34834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400" dirty="0">
                <a:cs typeface="Calibri"/>
              </a:rPr>
              <a:t>=</a:t>
            </a:r>
          </a:p>
        </p:txBody>
      </p:sp>
      <p:sp>
        <p:nvSpPr>
          <p:cNvPr id="49" name="Textfeld 12">
            <a:extLst>
              <a:ext uri="{FF2B5EF4-FFF2-40B4-BE49-F238E27FC236}">
                <a16:creationId xmlns:a16="http://schemas.microsoft.com/office/drawing/2014/main" id="{AFE0832D-71EF-4365-9540-F733519E68F2}"/>
              </a:ext>
            </a:extLst>
          </p:cNvPr>
          <p:cNvSpPr txBox="1"/>
          <p:nvPr/>
        </p:nvSpPr>
        <p:spPr>
          <a:xfrm>
            <a:off x="4063999" y="4869541"/>
            <a:ext cx="1300843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400" dirty="0">
                <a:cs typeface="Calibri"/>
              </a:rPr>
              <a:t>Hardware</a:t>
            </a:r>
          </a:p>
        </p:txBody>
      </p:sp>
      <p:sp>
        <p:nvSpPr>
          <p:cNvPr id="50" name="Textfeld 12">
            <a:extLst>
              <a:ext uri="{FF2B5EF4-FFF2-40B4-BE49-F238E27FC236}">
                <a16:creationId xmlns:a16="http://schemas.microsoft.com/office/drawing/2014/main" id="{F024E3AD-5ADC-41D1-A300-FE3A73C2AC0E}"/>
              </a:ext>
            </a:extLst>
          </p:cNvPr>
          <p:cNvSpPr txBox="1"/>
          <p:nvPr/>
        </p:nvSpPr>
        <p:spPr>
          <a:xfrm>
            <a:off x="4063998" y="5341254"/>
            <a:ext cx="1300843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400" dirty="0">
                <a:cs typeface="Calibri"/>
              </a:rPr>
              <a:t>Software</a:t>
            </a:r>
          </a:p>
        </p:txBody>
      </p:sp>
      <p:sp>
        <p:nvSpPr>
          <p:cNvPr id="51" name="Textfeld 12">
            <a:extLst>
              <a:ext uri="{FF2B5EF4-FFF2-40B4-BE49-F238E27FC236}">
                <a16:creationId xmlns:a16="http://schemas.microsoft.com/office/drawing/2014/main" id="{DA529831-2C5E-4E48-98E7-7887D275BEEF}"/>
              </a:ext>
            </a:extLst>
          </p:cNvPr>
          <p:cNvSpPr txBox="1"/>
          <p:nvPr/>
        </p:nvSpPr>
        <p:spPr>
          <a:xfrm>
            <a:off x="10894784" y="4815112"/>
            <a:ext cx="1300843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400" dirty="0">
                <a:cs typeface="Calibri"/>
              </a:rPr>
              <a:t>Hardware</a:t>
            </a:r>
          </a:p>
        </p:txBody>
      </p:sp>
      <p:sp>
        <p:nvSpPr>
          <p:cNvPr id="52" name="Textfeld 12">
            <a:extLst>
              <a:ext uri="{FF2B5EF4-FFF2-40B4-BE49-F238E27FC236}">
                <a16:creationId xmlns:a16="http://schemas.microsoft.com/office/drawing/2014/main" id="{58CA46E3-54AC-4364-8D29-5215CEF3EEFC}"/>
              </a:ext>
            </a:extLst>
          </p:cNvPr>
          <p:cNvSpPr txBox="1"/>
          <p:nvPr/>
        </p:nvSpPr>
        <p:spPr>
          <a:xfrm>
            <a:off x="10894784" y="5323112"/>
            <a:ext cx="1300843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400" dirty="0">
                <a:cs typeface="Calibri"/>
              </a:rPr>
              <a:t>Hardware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C047B53-B20A-4E78-AC9F-818A6A97A260}"/>
              </a:ext>
            </a:extLst>
          </p:cNvPr>
          <p:cNvCxnSpPr>
            <a:cxnSpLocks/>
          </p:cNvCxnSpPr>
          <p:nvPr/>
        </p:nvCxnSpPr>
        <p:spPr>
          <a:xfrm flipV="1">
            <a:off x="10654303" y="5011386"/>
            <a:ext cx="159594" cy="83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82F409CD-A4F7-43E3-9E7B-89876369EC1F}"/>
              </a:ext>
            </a:extLst>
          </p:cNvPr>
          <p:cNvCxnSpPr>
            <a:cxnSpLocks/>
          </p:cNvCxnSpPr>
          <p:nvPr/>
        </p:nvCxnSpPr>
        <p:spPr>
          <a:xfrm>
            <a:off x="10666713" y="5387899"/>
            <a:ext cx="159594" cy="83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12">
            <a:extLst>
              <a:ext uri="{FF2B5EF4-FFF2-40B4-BE49-F238E27FC236}">
                <a16:creationId xmlns:a16="http://schemas.microsoft.com/office/drawing/2014/main" id="{2095B29B-30EB-4304-A8AA-6C3A19D01D0C}"/>
              </a:ext>
            </a:extLst>
          </p:cNvPr>
          <p:cNvSpPr txBox="1"/>
          <p:nvPr/>
        </p:nvSpPr>
        <p:spPr>
          <a:xfrm>
            <a:off x="7320641" y="4815112"/>
            <a:ext cx="1300843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400" dirty="0">
                <a:cs typeface="Calibri"/>
              </a:rPr>
              <a:t>Physical</a:t>
            </a:r>
            <a:endParaRPr lang="en-US" dirty="0"/>
          </a:p>
        </p:txBody>
      </p:sp>
      <p:sp>
        <p:nvSpPr>
          <p:cNvPr id="56" name="Textfeld 12">
            <a:extLst>
              <a:ext uri="{FF2B5EF4-FFF2-40B4-BE49-F238E27FC236}">
                <a16:creationId xmlns:a16="http://schemas.microsoft.com/office/drawing/2014/main" id="{515D9531-2E64-444A-A4E4-7F785DD98E73}"/>
              </a:ext>
            </a:extLst>
          </p:cNvPr>
          <p:cNvSpPr txBox="1"/>
          <p:nvPr/>
        </p:nvSpPr>
        <p:spPr>
          <a:xfrm>
            <a:off x="7320640" y="5395683"/>
            <a:ext cx="1300843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400" dirty="0">
                <a:cs typeface="Calibri"/>
              </a:rPr>
              <a:t>Local</a:t>
            </a:r>
            <a:endParaRPr lang="en-US" dirty="0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D0DA359-A054-4C9F-9E1F-2141D44E71C0}"/>
              </a:ext>
            </a:extLst>
          </p:cNvPr>
          <p:cNvCxnSpPr>
            <a:cxnSpLocks/>
          </p:cNvCxnSpPr>
          <p:nvPr/>
        </p:nvCxnSpPr>
        <p:spPr>
          <a:xfrm flipV="1">
            <a:off x="7098303" y="5011386"/>
            <a:ext cx="159594" cy="83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5233BE3-74D2-4CB7-8B4E-0FDE14C7175D}"/>
              </a:ext>
            </a:extLst>
          </p:cNvPr>
          <p:cNvCxnSpPr>
            <a:cxnSpLocks/>
          </p:cNvCxnSpPr>
          <p:nvPr/>
        </p:nvCxnSpPr>
        <p:spPr>
          <a:xfrm>
            <a:off x="7092570" y="5406042"/>
            <a:ext cx="159594" cy="83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6ED8A01-5006-49CB-9EFF-68324E2D0D55}"/>
              </a:ext>
            </a:extLst>
          </p:cNvPr>
          <p:cNvSpPr/>
          <p:nvPr/>
        </p:nvSpPr>
        <p:spPr>
          <a:xfrm>
            <a:off x="386444" y="4631871"/>
            <a:ext cx="11475355" cy="12246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C5B01E50-E4E1-4ADD-9853-A1AA181D2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2A22FE-C090-466F-AFD7-855FFF5296C7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91B74BFA-721E-43D3-AA73-FDC7F6642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</p:spPr>
        <p:txBody>
          <a:bodyPr/>
          <a:lstStyle/>
          <a:p>
            <a:r>
              <a:rPr lang="de-DE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IoT Hackathon  - DBE SoSe20</a:t>
            </a:r>
          </a:p>
        </p:txBody>
      </p:sp>
      <p:sp>
        <p:nvSpPr>
          <p:cNvPr id="59" name="Slide Number Placeholder 58">
            <a:extLst>
              <a:ext uri="{FF2B5EF4-FFF2-40B4-BE49-F238E27FC236}">
                <a16:creationId xmlns:a16="http://schemas.microsoft.com/office/drawing/2014/main" id="{4AF62897-628B-4B8F-B16F-17C363715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3</a:t>
            </a:fld>
            <a:endParaRPr lang="de-DE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58C7FF5-1FFC-4468-9F67-A57CBF8267D7}"/>
              </a:ext>
            </a:extLst>
          </p:cNvPr>
          <p:cNvSpPr txBox="1"/>
          <p:nvPr/>
        </p:nvSpPr>
        <p:spPr>
          <a:xfrm>
            <a:off x="999242" y="6493287"/>
            <a:ext cx="2648931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/>
              <a:t>für Digital Business Engineering Böblingen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775540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691F4B-2172-4A29-944D-521DEAB2A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350" dirty="0">
                <a:latin typeface="Avenir Next LT Pro Light"/>
              </a:rPr>
              <a:t>Mockup des kreativen Workspaces </a:t>
            </a:r>
          </a:p>
        </p:txBody>
      </p:sp>
      <p:pic>
        <p:nvPicPr>
          <p:cNvPr id="3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74F12F7F-1685-44E7-82E1-F0A16A48C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5328" y="1241067"/>
            <a:ext cx="10435770" cy="490200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120C8E-6F34-43BD-A87F-1CB4A1D9498F}"/>
              </a:ext>
            </a:extLst>
          </p:cNvPr>
          <p:cNvSpPr txBox="1"/>
          <p:nvPr/>
        </p:nvSpPr>
        <p:spPr>
          <a:xfrm>
            <a:off x="999242" y="6495068"/>
            <a:ext cx="4204354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/>
              <a:t>für Digital Business Engineering Böblingen</a:t>
            </a:r>
            <a:endParaRPr lang="en-GB" sz="9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68FE5A-0C32-41AB-B10F-40D127699A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3662C6-C900-40BB-97DA-32884D980911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7306FA-FC53-401E-8AF2-74E8A4725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IoT Hackathon  - DBE SoSe20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6B83A7-0F65-4C66-842C-38845BE19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3843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487692-8B19-4F84-BB3E-24B467C9A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 unseres IoT-Konzepts 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6D93A9A8-62DF-4499-974C-0336C67737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42646" y="2349993"/>
            <a:ext cx="4207423" cy="374118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e-DE" sz="3000" dirty="0">
                <a:latin typeface="Calibri Light"/>
                <a:cs typeface="Calibri Light"/>
              </a:rPr>
              <a:t>Authentifizierung des Users durch den Scan des QR Codes</a:t>
            </a:r>
            <a:endParaRPr lang="de-DE" dirty="0">
              <a:cs typeface="Calibri Light" panose="020F03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3000" dirty="0">
              <a:latin typeface="Calibri Light"/>
              <a:cs typeface="Calibri Light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de-DE" sz="3000" b="1" dirty="0">
                <a:latin typeface="Calibri Light"/>
                <a:cs typeface="Calibri Light"/>
                <a:sym typeface="Wingdings" panose="05000000000000000000" pitchFamily="2" charset="2"/>
              </a:rPr>
              <a:t></a:t>
            </a:r>
            <a:r>
              <a:rPr lang="de-DE" sz="3000" b="1" dirty="0">
                <a:latin typeface="Calibri Light"/>
                <a:cs typeface="Calibri Light"/>
              </a:rPr>
              <a:t> Keine Passworteingabe und Zeitersparnis </a:t>
            </a:r>
            <a:endParaRPr lang="de-DE" sz="3000" b="1" dirty="0">
              <a:cs typeface="Calibri Light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CD4BFB-D9DE-49BB-8273-12BA45782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A677A-6377-490F-A687-8BF1F7505640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193D9F1-1216-4B9D-80F6-30F594BE0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oT Hackathon  - DBE SoSe2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EE3A13-D6C5-4304-9931-59FBD9F10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5</a:t>
            </a:fld>
            <a:endParaRPr lang="de-DE" dirty="0"/>
          </a:p>
        </p:txBody>
      </p:sp>
      <p:pic>
        <p:nvPicPr>
          <p:cNvPr id="9" name="Content Placeholder 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826DB8E4-E830-49E5-BB8E-AD65C13336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13889" b="57439"/>
          <a:stretch/>
        </p:blipFill>
        <p:spPr>
          <a:xfrm>
            <a:off x="4594730" y="2664435"/>
            <a:ext cx="2686733" cy="2014370"/>
          </a:xfrm>
          <a:prstGeom prst="rect">
            <a:avLst/>
          </a:prstGeom>
        </p:spPr>
      </p:pic>
      <p:cxnSp>
        <p:nvCxnSpPr>
          <p:cNvPr id="6" name="Straight Connector 56">
            <a:extLst>
              <a:ext uri="{FF2B5EF4-FFF2-40B4-BE49-F238E27FC236}">
                <a16:creationId xmlns:a16="http://schemas.microsoft.com/office/drawing/2014/main" id="{F9C10A51-C2D7-4D7D-AAED-8E3C37665CED}"/>
              </a:ext>
            </a:extLst>
          </p:cNvPr>
          <p:cNvCxnSpPr>
            <a:cxnSpLocks/>
          </p:cNvCxnSpPr>
          <p:nvPr/>
        </p:nvCxnSpPr>
        <p:spPr>
          <a:xfrm flipV="1">
            <a:off x="2897103" y="3947136"/>
            <a:ext cx="1482844" cy="18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8" descr="A picture containing monitor, mirror&#10;&#10;Description automatically generated">
            <a:extLst>
              <a:ext uri="{FF2B5EF4-FFF2-40B4-BE49-F238E27FC236}">
                <a16:creationId xmlns:a16="http://schemas.microsoft.com/office/drawing/2014/main" id="{4DBA6DCD-4D70-4B71-8B3E-248098CC00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27" t="9091" r="20098" b="909"/>
          <a:stretch/>
        </p:blipFill>
        <p:spPr>
          <a:xfrm>
            <a:off x="2870200" y="2761052"/>
            <a:ext cx="1470283" cy="1162355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9E815A05-F67B-411E-82F1-77B1508273CB}"/>
              </a:ext>
            </a:extLst>
          </p:cNvPr>
          <p:cNvSpPr txBox="1"/>
          <p:nvPr/>
        </p:nvSpPr>
        <p:spPr>
          <a:xfrm>
            <a:off x="3315057" y="3064117"/>
            <a:ext cx="92541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1400" dirty="0"/>
              <a:t>Auth</a:t>
            </a:r>
            <a:r>
              <a:rPr lang="de-DE" dirty="0"/>
              <a:t>.</a:t>
            </a:r>
          </a:p>
        </p:txBody>
      </p:sp>
      <p:pic>
        <p:nvPicPr>
          <p:cNvPr id="21" name="Content Placeholder 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9C8D6480-F195-411C-836D-392B647A29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26" y="1983573"/>
            <a:ext cx="2489740" cy="3322138"/>
          </a:xfrm>
          <a:prstGeom prst="rect">
            <a:avLst/>
          </a:prstGeom>
        </p:spPr>
      </p:pic>
      <p:pic>
        <p:nvPicPr>
          <p:cNvPr id="20" name="Grafik 21" descr="Ein Bild, das Zeichnung enthält.&#10;&#10;Beschreibung automatisch generiert.">
            <a:extLst>
              <a:ext uri="{FF2B5EF4-FFF2-40B4-BE49-F238E27FC236}">
                <a16:creationId xmlns:a16="http://schemas.microsoft.com/office/drawing/2014/main" id="{896631D6-05EA-4E13-93F8-D09D6F475B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293" y="1981027"/>
            <a:ext cx="1371945" cy="1371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3438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D69CE1-D1AE-4040-A641-474472F6F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9284" y="4550835"/>
            <a:ext cx="10363200" cy="1362074"/>
          </a:xfrm>
        </p:spPr>
        <p:txBody>
          <a:bodyPr>
            <a:normAutofit fontScale="90000"/>
          </a:bodyPr>
          <a:lstStyle/>
          <a:p>
            <a:r>
              <a:rPr lang="de-DE" dirty="0">
                <a:latin typeface="Calibri Light"/>
                <a:cs typeface="Calibri Light"/>
              </a:rPr>
              <a:t>Vielen Dank für eure Aufmerksamkeit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51088F-E02C-4DE0-99C0-58E23CA03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DB58-E85F-43E8-B392-71BBE31CBB8A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69E868-A049-4338-979F-F7FF24F5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IoT Hackathon  - DBE SoSe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8237C7-9697-4006-A333-46B4C1E46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6</a:t>
            </a:fld>
            <a:endParaRPr lang="de-DE" dirty="0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FCE52048-A0EB-4128-9D6D-A4F103E1FF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2733" y="506472"/>
            <a:ext cx="4572000" cy="3948522"/>
          </a:xfrm>
          <a:prstGeom prst="rect">
            <a:avLst/>
          </a:prstGeom>
        </p:spPr>
      </p:pic>
      <p:sp>
        <p:nvSpPr>
          <p:cNvPr id="3" name="TextBox 8">
            <a:extLst>
              <a:ext uri="{FF2B5EF4-FFF2-40B4-BE49-F238E27FC236}">
                <a16:creationId xmlns:a16="http://schemas.microsoft.com/office/drawing/2014/main" id="{E49C51A7-AF3D-4ED3-8E7D-0BB3EF719BE5}"/>
              </a:ext>
            </a:extLst>
          </p:cNvPr>
          <p:cNvSpPr txBox="1"/>
          <p:nvPr/>
        </p:nvSpPr>
        <p:spPr>
          <a:xfrm>
            <a:off x="999242" y="6493287"/>
            <a:ext cx="2648931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/>
              <a:t>für Digital Business Engineering Böblingen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427399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51088F-E02C-4DE0-99C0-58E23CA03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5DB58-E85F-43E8-B392-71BBE31CBB8A}" type="datetime1">
              <a:rPr lang="de-DE" smtClean="0"/>
              <a:t>13.07.2020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69E868-A049-4338-979F-F7FF24F5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IoT Hackathon  - DBE SoSe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8237C7-9697-4006-A333-46B4C1E46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C41F8-5AA6-438E-B67E-CB926F88264A}" type="slidenum">
              <a:rPr lang="de-DE" smtClean="0"/>
              <a:t>7</a:t>
            </a:fld>
            <a:endParaRPr lang="de-DE" dirty="0"/>
          </a:p>
        </p:txBody>
      </p:sp>
      <p:sp>
        <p:nvSpPr>
          <p:cNvPr id="3" name="TextBox 8">
            <a:extLst>
              <a:ext uri="{FF2B5EF4-FFF2-40B4-BE49-F238E27FC236}">
                <a16:creationId xmlns:a16="http://schemas.microsoft.com/office/drawing/2014/main" id="{E49C51A7-AF3D-4ED3-8E7D-0BB3EF719BE5}"/>
              </a:ext>
            </a:extLst>
          </p:cNvPr>
          <p:cNvSpPr txBox="1"/>
          <p:nvPr/>
        </p:nvSpPr>
        <p:spPr>
          <a:xfrm>
            <a:off x="999242" y="6493287"/>
            <a:ext cx="2648931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/>
              <a:t>für Digital Business Engineering Böblingen</a:t>
            </a:r>
            <a:endParaRPr lang="en-GB" sz="900" dirty="0"/>
          </a:p>
        </p:txBody>
      </p:sp>
      <p:pic>
        <p:nvPicPr>
          <p:cNvPr id="13" name="Picture 8" descr="A picture containing monitor, mirror&#10;&#10;Description automatically generated">
            <a:extLst>
              <a:ext uri="{FF2B5EF4-FFF2-40B4-BE49-F238E27FC236}">
                <a16:creationId xmlns:a16="http://schemas.microsoft.com/office/drawing/2014/main" id="{678AB6FA-886D-413B-BAEA-26AA32B81A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627" t="9091" r="20098" b="909"/>
          <a:stretch/>
        </p:blipFill>
        <p:spPr>
          <a:xfrm>
            <a:off x="4207235" y="2237554"/>
            <a:ext cx="1755982" cy="1391797"/>
          </a:xfrm>
          <a:prstGeom prst="rect">
            <a:avLst/>
          </a:prstGeom>
        </p:spPr>
      </p:pic>
      <p:pic>
        <p:nvPicPr>
          <p:cNvPr id="14" name="Content Placeholder 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C97F67CC-66A0-46C7-B2F1-4C7F837D70A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37" t="61246" r="23148" b="12803"/>
          <a:stretch/>
        </p:blipFill>
        <p:spPr>
          <a:xfrm>
            <a:off x="146430" y="2327233"/>
            <a:ext cx="1498469" cy="1302119"/>
          </a:xfrm>
          <a:prstGeom prst="rect">
            <a:avLst/>
          </a:prstGeom>
        </p:spPr>
      </p:pic>
      <p:pic>
        <p:nvPicPr>
          <p:cNvPr id="15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44B1C0D3-70AF-4CC2-8D67-FFC07B9EE4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49765" y="2208486"/>
            <a:ext cx="2963491" cy="1391797"/>
          </a:xfrm>
          <a:prstGeom prst="rect">
            <a:avLst/>
          </a:prstGeom>
        </p:spPr>
      </p:pic>
      <p:pic>
        <p:nvPicPr>
          <p:cNvPr id="2052" name="Picture 4" descr="Kamera Icon - Laden Sie PNG und Vector kostenlos herunter">
            <a:extLst>
              <a:ext uri="{FF2B5EF4-FFF2-40B4-BE49-F238E27FC236}">
                <a16:creationId xmlns:a16="http://schemas.microsoft.com/office/drawing/2014/main" id="{CEA3030E-775E-4456-A89D-5B9F96797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168" y="2237554"/>
            <a:ext cx="1391798" cy="1391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nternet Icon - Laden Sie PNG und Vector kostenlos herunter">
            <a:extLst>
              <a:ext uri="{FF2B5EF4-FFF2-40B4-BE49-F238E27FC236}">
                <a16:creationId xmlns:a16="http://schemas.microsoft.com/office/drawing/2014/main" id="{0F7E9AEE-856E-4D69-81ED-9B24174CA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8486" y="2237554"/>
            <a:ext cx="1391797" cy="1391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18D1F217-42E9-4800-93CF-F223ED601D7F}"/>
              </a:ext>
            </a:extLst>
          </p:cNvPr>
          <p:cNvSpPr/>
          <p:nvPr/>
        </p:nvSpPr>
        <p:spPr>
          <a:xfrm>
            <a:off x="1644899" y="2854960"/>
            <a:ext cx="585269" cy="23083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1968DC76-5207-4CEB-B529-BD516D4C3BDD}"/>
              </a:ext>
            </a:extLst>
          </p:cNvPr>
          <p:cNvSpPr/>
          <p:nvPr/>
        </p:nvSpPr>
        <p:spPr>
          <a:xfrm>
            <a:off x="3606774" y="2862876"/>
            <a:ext cx="585269" cy="23083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4FB85B09-B2D5-4075-9D76-9501CA854DA3}"/>
              </a:ext>
            </a:extLst>
          </p:cNvPr>
          <p:cNvSpPr/>
          <p:nvPr/>
        </p:nvSpPr>
        <p:spPr>
          <a:xfrm>
            <a:off x="5901111" y="2862876"/>
            <a:ext cx="585269" cy="23083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17C2B9D3-F9EF-4C36-8A84-220CA72D93CE}"/>
              </a:ext>
            </a:extLst>
          </p:cNvPr>
          <p:cNvSpPr/>
          <p:nvPr/>
        </p:nvSpPr>
        <p:spPr>
          <a:xfrm>
            <a:off x="8002389" y="2862876"/>
            <a:ext cx="585269" cy="23083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495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hz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hz" id="{25C52620-D5DD-475F-B142-D65B70598F31}" vid="{57C6CFD9-839D-4E57-81D3-E0F937117A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3384638375EC949A2B5C4AB41114906" ma:contentTypeVersion="2" ma:contentTypeDescription="Ein neues Dokument erstellen." ma:contentTypeScope="" ma:versionID="e9a3a69b4e0cfc1354a79f06191508c1">
  <xsd:schema xmlns:xsd="http://www.w3.org/2001/XMLSchema" xmlns:xs="http://www.w3.org/2001/XMLSchema" xmlns:p="http://schemas.microsoft.com/office/2006/metadata/properties" xmlns:ns2="2351d129-2cbd-46e8-b74f-88262f59e2f8" targetNamespace="http://schemas.microsoft.com/office/2006/metadata/properties" ma:root="true" ma:fieldsID="32eef2cdc2a8e41faa1db9bc7aeae21f" ns2:_="">
    <xsd:import namespace="2351d129-2cbd-46e8-b74f-88262f59e2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51d129-2cbd-46e8-b74f-88262f59e2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FB52DDC-0779-470F-B5B2-D046861E7D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63140A-5FAC-44B2-AC56-356F0D8482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51d129-2cbd-46e8-b74f-88262f59e2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7D9279-30A6-487D-AC0C-A0B2A1742ACA}">
  <ds:schemaRefs>
    <ds:schemaRef ds:uri="http://schemas.microsoft.com/office/infopath/2007/PartnerControls"/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2351d129-2cbd-46e8-b74f-88262f59e2f8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hz</Template>
  <TotalTime>0</TotalTime>
  <Words>152</Words>
  <Application>Microsoft Office PowerPoint</Application>
  <PresentationFormat>Widescreen</PresentationFormat>
  <Paragraphs>6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Avenir Next LT Pro Light</vt:lpstr>
      <vt:lpstr>Calibri</vt:lpstr>
      <vt:lpstr>Calibri Light</vt:lpstr>
      <vt:lpstr>hhz</vt:lpstr>
      <vt:lpstr>think-cell Folie</vt:lpstr>
      <vt:lpstr>Q'n'R  - Quick and Reactive</vt:lpstr>
      <vt:lpstr>Aktuelles Problem   </vt:lpstr>
      <vt:lpstr>Fleischformel unserer Lösung  </vt:lpstr>
      <vt:lpstr>Mockup des kreativen Workspaces </vt:lpstr>
      <vt:lpstr>Ausblick unseres IoT-Konzepts </vt:lpstr>
      <vt:lpstr>Vielen Dank für eure Aufmerksamkei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ckathon</dc:title>
  <dc:creator>Isabel Staaden</dc:creator>
  <cp:lastModifiedBy>Isabel Staaden</cp:lastModifiedBy>
  <cp:revision>1</cp:revision>
  <dcterms:created xsi:type="dcterms:W3CDTF">2020-06-30T11:39:36Z</dcterms:created>
  <dcterms:modified xsi:type="dcterms:W3CDTF">2020-07-13T14:3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384638375EC949A2B5C4AB41114906</vt:lpwstr>
  </property>
</Properties>
</file>